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3" r:id="rId4"/>
    <p:sldMasterId id="2147483767" r:id="rId5"/>
    <p:sldMasterId id="2147483807" r:id="rId6"/>
    <p:sldMasterId id="2147483809" r:id="rId7"/>
    <p:sldMasterId id="2147483813" r:id="rId8"/>
    <p:sldMasterId id="2147483876" r:id="rId9"/>
    <p:sldMasterId id="2147483891" r:id="rId10"/>
  </p:sldMasterIdLst>
  <p:notesMasterIdLst>
    <p:notesMasterId r:id="rId23"/>
  </p:notesMasterIdLst>
  <p:handoutMasterIdLst>
    <p:handoutMasterId r:id="rId24"/>
  </p:handoutMasterIdLst>
  <p:sldIdLst>
    <p:sldId id="2500" r:id="rId11"/>
    <p:sldId id="2499" r:id="rId12"/>
    <p:sldId id="2496" r:id="rId13"/>
    <p:sldId id="548" r:id="rId14"/>
    <p:sldId id="558" r:id="rId15"/>
    <p:sldId id="531" r:id="rId16"/>
    <p:sldId id="2490" r:id="rId17"/>
    <p:sldId id="569" r:id="rId18"/>
    <p:sldId id="549" r:id="rId19"/>
    <p:sldId id="2501" r:id="rId20"/>
    <p:sldId id="567" r:id="rId21"/>
    <p:sldId id="2502" r:id="rId22"/>
  </p:sldIdLst>
  <p:sldSz cx="12192000" cy="6858000"/>
  <p:notesSz cx="6858000" cy="9144000"/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flexiones personas" id="{6A8D5800-1047-9740-9EAC-EC3CA5A891A0}">
          <p14:sldIdLst>
            <p14:sldId id="2500"/>
            <p14:sldId id="2499"/>
            <p14:sldId id="2496"/>
            <p14:sldId id="548"/>
            <p14:sldId id="558"/>
            <p14:sldId id="531"/>
            <p14:sldId id="2490"/>
            <p14:sldId id="569"/>
            <p14:sldId id="549"/>
            <p14:sldId id="2501"/>
            <p14:sldId id="567"/>
            <p14:sldId id="2502"/>
          </p14:sldIdLst>
        </p14:section>
        <p14:section name="Cierre" id="{0E678AC9-24B9-E344-B0B4-0F0CF3453D8E}">
          <p14:sldIdLst/>
        </p14:section>
      </p14:sectionLst>
    </p:ext>
    <p:ext uri="{EFAFB233-063F-42B5-8137-9DF3F51BA10A}">
      <p15:sldGuideLst xmlns:p15="http://schemas.microsoft.com/office/powerpoint/2012/main">
        <p15:guide id="5" orient="horz" userDrawn="1">
          <p15:clr>
            <a:srgbClr val="A4A3A4"/>
          </p15:clr>
        </p15:guide>
        <p15:guide id="6" pos="3840">
          <p15:clr>
            <a:srgbClr val="A4A3A4"/>
          </p15:clr>
        </p15:guide>
        <p15:guide id="7" orient="horz" pos="2160" userDrawn="1">
          <p15:clr>
            <a:srgbClr val="A4A3A4"/>
          </p15:clr>
        </p15:guide>
        <p15:guide id="8" orient="horz" pos="36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33CCCC"/>
    <a:srgbClr val="0099FF"/>
    <a:srgbClr val="0099CC"/>
    <a:srgbClr val="00976D"/>
    <a:srgbClr val="000000"/>
    <a:srgbClr val="B2FDDF"/>
    <a:srgbClr val="FED7BA"/>
    <a:srgbClr val="FFFEB1"/>
    <a:srgbClr val="FEFD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059" autoAdjust="0"/>
    <p:restoredTop sz="94343" autoAdjust="0"/>
  </p:normalViewPr>
  <p:slideViewPr>
    <p:cSldViewPr snapToGrid="0" snapToObjects="1">
      <p:cViewPr varScale="1">
        <p:scale>
          <a:sx n="70" d="100"/>
          <a:sy n="70" d="100"/>
        </p:scale>
        <p:origin x="984" y="54"/>
      </p:cViewPr>
      <p:guideLst>
        <p:guide orient="horz"/>
        <p:guide pos="3840"/>
        <p:guide orient="horz" pos="2160"/>
        <p:guide orient="horz" pos="3634"/>
      </p:guideLst>
    </p:cSldViewPr>
  </p:slideViewPr>
  <p:outlineViewPr>
    <p:cViewPr>
      <p:scale>
        <a:sx n="33" d="100"/>
        <a:sy n="33" d="100"/>
      </p:scale>
      <p:origin x="0" y="-257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notesViewPr>
    <p:cSldViewPr snapToGrid="0" snapToObjects="1">
      <p:cViewPr varScale="1">
        <p:scale>
          <a:sx n="106" d="100"/>
          <a:sy n="106" d="100"/>
        </p:scale>
        <p:origin x="2344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heme" Target="theme/theme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BEL MARIA NAVARRO NAVARRO" userId="6589d05d-ee48-41e1-a9be-ce948337d999" providerId="ADAL" clId="{4F57FF8C-EC45-4112-804D-83D8FE1F160D}"/>
    <pc:docChg chg="delSld modSld modSection">
      <pc:chgData name="ISABEL MARIA NAVARRO NAVARRO" userId="6589d05d-ee48-41e1-a9be-ce948337d999" providerId="ADAL" clId="{4F57FF8C-EC45-4112-804D-83D8FE1F160D}" dt="2021-02-04T10:23:03.834" v="5" actId="20577"/>
      <pc:docMkLst>
        <pc:docMk/>
      </pc:docMkLst>
      <pc:sldChg chg="modSp">
        <pc:chgData name="ISABEL MARIA NAVARRO NAVARRO" userId="6589d05d-ee48-41e1-a9be-ce948337d999" providerId="ADAL" clId="{4F57FF8C-EC45-4112-804D-83D8FE1F160D}" dt="2021-02-04T10:20:06.626" v="3" actId="20577"/>
        <pc:sldMkLst>
          <pc:docMk/>
          <pc:sldMk cId="0" sldId="531"/>
        </pc:sldMkLst>
        <pc:spChg chg="mod">
          <ac:chgData name="ISABEL MARIA NAVARRO NAVARRO" userId="6589d05d-ee48-41e1-a9be-ce948337d999" providerId="ADAL" clId="{4F57FF8C-EC45-4112-804D-83D8FE1F160D}" dt="2021-02-04T10:20:06.626" v="3" actId="20577"/>
          <ac:spMkLst>
            <pc:docMk/>
            <pc:sldMk cId="0" sldId="531"/>
            <ac:spMk id="12" creationId="{C71A4923-79B1-4E2C-AB1B-C9AD04E3CF7D}"/>
          </ac:spMkLst>
        </pc:spChg>
      </pc:sldChg>
      <pc:sldChg chg="del">
        <pc:chgData name="ISABEL MARIA NAVARRO NAVARRO" userId="6589d05d-ee48-41e1-a9be-ce948337d999" providerId="ADAL" clId="{4F57FF8C-EC45-4112-804D-83D8FE1F160D}" dt="2021-02-04T10:11:52.623" v="0" actId="2696"/>
        <pc:sldMkLst>
          <pc:docMk/>
          <pc:sldMk cId="0" sldId="570"/>
        </pc:sldMkLst>
      </pc:sldChg>
      <pc:sldChg chg="del">
        <pc:chgData name="ISABEL MARIA NAVARRO NAVARRO" userId="6589d05d-ee48-41e1-a9be-ce948337d999" providerId="ADAL" clId="{4F57FF8C-EC45-4112-804D-83D8FE1F160D}" dt="2021-02-04T10:12:16.436" v="1" actId="2696"/>
        <pc:sldMkLst>
          <pc:docMk/>
          <pc:sldMk cId="2867283573" sldId="2012"/>
        </pc:sldMkLst>
      </pc:sldChg>
      <pc:sldChg chg="modSp">
        <pc:chgData name="ISABEL MARIA NAVARRO NAVARRO" userId="6589d05d-ee48-41e1-a9be-ce948337d999" providerId="ADAL" clId="{4F57FF8C-EC45-4112-804D-83D8FE1F160D}" dt="2021-02-04T10:23:03.834" v="5" actId="20577"/>
        <pc:sldMkLst>
          <pc:docMk/>
          <pc:sldMk cId="3019827026" sldId="2490"/>
        </pc:sldMkLst>
        <pc:spChg chg="mod">
          <ac:chgData name="ISABEL MARIA NAVARRO NAVARRO" userId="6589d05d-ee48-41e1-a9be-ce948337d999" providerId="ADAL" clId="{4F57FF8C-EC45-4112-804D-83D8FE1F160D}" dt="2021-02-04T10:23:03.834" v="5" actId="20577"/>
          <ac:spMkLst>
            <pc:docMk/>
            <pc:sldMk cId="3019827026" sldId="2490"/>
            <ac:spMk id="3" creationId="{2A8CE1E8-F6B1-418A-86ED-7D75747A2C39}"/>
          </ac:spMkLst>
        </pc:spChg>
      </pc:sldChg>
    </pc:docChg>
  </pc:docChgLst>
  <pc:docChgLst>
    <pc:chgData name="ISABEL MARIA NAVARRO NAVARRO" userId="6589d05d-ee48-41e1-a9be-ce948337d999" providerId="ADAL" clId="{CF723E06-7202-43A8-9B8E-1B2567291B78}"/>
    <pc:docChg chg="custSel modSld">
      <pc:chgData name="ISABEL MARIA NAVARRO NAVARRO" userId="6589d05d-ee48-41e1-a9be-ce948337d999" providerId="ADAL" clId="{CF723E06-7202-43A8-9B8E-1B2567291B78}" dt="2021-02-04T11:23:51.103" v="2" actId="478"/>
      <pc:docMkLst>
        <pc:docMk/>
      </pc:docMkLst>
      <pc:sldChg chg="delSp modSp">
        <pc:chgData name="ISABEL MARIA NAVARRO NAVARRO" userId="6589d05d-ee48-41e1-a9be-ce948337d999" providerId="ADAL" clId="{CF723E06-7202-43A8-9B8E-1B2567291B78}" dt="2021-02-04T11:23:51.103" v="2" actId="478"/>
        <pc:sldMkLst>
          <pc:docMk/>
          <pc:sldMk cId="0" sldId="569"/>
        </pc:sldMkLst>
        <pc:spChg chg="del mod">
          <ac:chgData name="ISABEL MARIA NAVARRO NAVARRO" userId="6589d05d-ee48-41e1-a9be-ce948337d999" providerId="ADAL" clId="{CF723E06-7202-43A8-9B8E-1B2567291B78}" dt="2021-02-04T11:23:48.320" v="1" actId="478"/>
          <ac:spMkLst>
            <pc:docMk/>
            <pc:sldMk cId="0" sldId="569"/>
            <ac:spMk id="3" creationId="{99065223-2943-42FC-95B1-3D4B2C11C613}"/>
          </ac:spMkLst>
        </pc:spChg>
        <pc:spChg chg="del">
          <ac:chgData name="ISABEL MARIA NAVARRO NAVARRO" userId="6589d05d-ee48-41e1-a9be-ce948337d999" providerId="ADAL" clId="{CF723E06-7202-43A8-9B8E-1B2567291B78}" dt="2021-02-04T11:23:51.103" v="2" actId="478"/>
          <ac:spMkLst>
            <pc:docMk/>
            <pc:sldMk cId="0" sldId="569"/>
            <ac:spMk id="7" creationId="{D51FF09A-3114-4386-AEC1-3D3F22D18F3D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658A7-05CF-5E40-B18D-F7C42D11219D}" type="datetimeFigureOut">
              <a:rPr lang="en-US" smtClean="0"/>
              <a:t>4/1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BFA32B-0DCD-B448-8B17-A03B8E637285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59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128C69-EAC9-CF40-83A4-61714555DCD4}" type="datetimeFigureOut">
              <a:rPr lang="en-US" smtClean="0"/>
              <a:t>4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6C3898-AFF7-6245-8B5C-06211330E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44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634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 sz="1200" b="1" i="0" u="none" strike="noStrike" baseline="0" dirty="0">
                <a:solidFill>
                  <a:srgbClr val="FFFFFF"/>
                </a:solidFill>
                <a:latin typeface="VodafoneRg-Bold"/>
              </a:rPr>
              <a:t>Denominación /Objetivo /Dirigido </a:t>
            </a:r>
          </a:p>
          <a:p>
            <a:pPr algn="l"/>
            <a:r>
              <a:rPr lang="es-ES" sz="1200" b="1" i="0" u="none" strike="noStrike" baseline="0" dirty="0">
                <a:solidFill>
                  <a:srgbClr val="000000"/>
                </a:solidFill>
                <a:latin typeface="VodafoneRg-Bold"/>
              </a:rPr>
              <a:t>Operaciones PRLTELCO:</a:t>
            </a:r>
          </a:p>
          <a:p>
            <a:pPr algn="l"/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Proporcionar formación básica en PRL del sector TELCO. Identificar el origen y las causas de los riesgos asociados al sector. Conocer las normas y medidas</a:t>
            </a:r>
          </a:p>
          <a:p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preventivas para desarrollar la actividad de forma segura. Dirigido a trabajadores operativos del sector. Actividades básicas de puestos operadores de telecomunicación </a:t>
            </a:r>
            <a:r>
              <a:rPr lang="es-ES" sz="1050" b="0" i="1" u="none" strike="noStrike" baseline="0" dirty="0">
                <a:solidFill>
                  <a:srgbClr val="000000"/>
                </a:solidFill>
                <a:latin typeface="VodafoneRg-Regular"/>
              </a:rPr>
              <a:t>(</a:t>
            </a:r>
            <a:r>
              <a:rPr lang="es-ES" sz="105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nvalidable con el curso “instalador de telecomunicaciones” de 2º ciclo del Convenio Estatal del Sector del Metal (Fundación del Metal), siempre y cuando la empresa que haya impartido dicha formación esté homologada para el Sector Telco.)</a:t>
            </a:r>
            <a:endParaRPr lang="es-ES" sz="1050" b="0" i="1" u="none" strike="noStrike" baseline="0" dirty="0">
              <a:solidFill>
                <a:srgbClr val="000000"/>
              </a:solidFill>
              <a:latin typeface="VodafoneRg-Regular"/>
            </a:endParaRPr>
          </a:p>
          <a:p>
            <a:pPr algn="l"/>
            <a:r>
              <a:rPr lang="es-ES" sz="1200" b="1" i="0" u="none" strike="noStrike" baseline="0" dirty="0">
                <a:solidFill>
                  <a:srgbClr val="000000"/>
                </a:solidFill>
                <a:latin typeface="VodafoneRg-Bold"/>
              </a:rPr>
              <a:t>Trabajo en Altura PRL-TELCO 1</a:t>
            </a:r>
          </a:p>
          <a:p>
            <a:pPr algn="l"/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Conocer los riesgos y las medidas preventivas de los trabajos en altura, así como estar capacitado para aplicar los procedimientos de trabajo y el uso de los </a:t>
            </a:r>
            <a:r>
              <a:rPr lang="es-ES" sz="1200" b="0" i="0" u="none" strike="noStrike" baseline="0" dirty="0" err="1">
                <a:solidFill>
                  <a:srgbClr val="000000"/>
                </a:solidFill>
                <a:latin typeface="VodafoneRg-Regular"/>
              </a:rPr>
              <a:t>EPI’s</a:t>
            </a:r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. dirigido a trabajadores que desarrollen tareas a alturas superiores a 2 m en escaleras manuales, escalas fijas, andamios, postes de madera, postes de</a:t>
            </a:r>
          </a:p>
          <a:p>
            <a:pPr algn="l"/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hormigón y cubiertas con protección </a:t>
            </a:r>
          </a:p>
          <a:p>
            <a:pPr algn="l"/>
            <a:r>
              <a:rPr lang="es-ES" sz="1200" b="1" i="0" u="none" strike="noStrike" baseline="0" dirty="0">
                <a:solidFill>
                  <a:srgbClr val="000000"/>
                </a:solidFill>
                <a:latin typeface="VodafoneRg-Bold"/>
              </a:rPr>
              <a:t>Trabajo en Altura PRL-TELCO 2</a:t>
            </a:r>
          </a:p>
          <a:p>
            <a:pPr algn="l"/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Conocer los riesgos y las medidas preventivas de los trabajos en altura, así como estar capacitado para aplicar los procedimientos de trabajo y el uso de los </a:t>
            </a:r>
            <a:r>
              <a:rPr lang="es-ES" sz="1200" b="0" i="0" u="none" strike="noStrike" baseline="0" dirty="0" err="1">
                <a:solidFill>
                  <a:srgbClr val="000000"/>
                </a:solidFill>
                <a:latin typeface="VodafoneRg-Regular"/>
              </a:rPr>
              <a:t>EPI’s</a:t>
            </a:r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. Dirigido a trabajadores expuestos a riesgo de caída de altura que realice trabajos en torres de antena, mástiles y cubiertas sin protección o no transitables. Trabajos en red móvil.</a:t>
            </a:r>
          </a:p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1" i="0" u="none" strike="noStrike" baseline="0" dirty="0">
                <a:solidFill>
                  <a:srgbClr val="000000"/>
                </a:solidFill>
                <a:latin typeface="VodafoneRg-Bold"/>
              </a:rPr>
              <a:t>Trabajo en Altura PRL-TELCO 3</a:t>
            </a:r>
          </a:p>
          <a:p>
            <a:r>
              <a:rPr lang="es-ES" sz="1200" b="0" i="0" u="none" strike="noStrike" baseline="0" dirty="0">
                <a:solidFill>
                  <a:srgbClr val="000000"/>
                </a:solidFill>
                <a:latin typeface="VodafoneRg-Regular"/>
              </a:rPr>
              <a:t> </a:t>
            </a:r>
            <a:r>
              <a:rPr lang="es-ES" sz="1100" b="0" i="0" u="none" strike="noStrike" baseline="0" dirty="0">
                <a:solidFill>
                  <a:srgbClr val="000000"/>
                </a:solidFill>
                <a:latin typeface="VodafoneRg-Regular"/>
              </a:rPr>
              <a:t>Conocer los riesgos y las medidas preventivas de los trabajos en altura, así como estar capacitado para aplicar los p</a:t>
            </a:r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cedimientos de trabajo y el uso de los</a:t>
            </a:r>
          </a:p>
          <a:p>
            <a:r>
              <a:rPr lang="es-E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PI’s</a:t>
            </a:r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dirigido a t</a:t>
            </a:r>
            <a:r>
              <a:rPr lang="es-ES" sz="1100" b="0" i="0" u="none" strike="noStrike" baseline="0" dirty="0">
                <a:solidFill>
                  <a:srgbClr val="000000"/>
                </a:solidFill>
                <a:latin typeface="VodafoneRg-Regular"/>
              </a:rPr>
              <a:t>rabajadores expuestos a riesgo de caída (fachadas, tejados inclinados, cubitas </a:t>
            </a:r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co resistentes, </a:t>
            </a:r>
            <a:r>
              <a:rPr lang="es-E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tc</a:t>
            </a:r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…) que vayan a efectuar la preparación y/o realización de trabajos con Técnicas de Acceso y Posicionamiento mediante Cuerdas (Trabajos Verticales) conforme al RD 2177/2004 y a las instrucciones de los Fabricantes de los EPI’S implicados </a:t>
            </a:r>
            <a:r>
              <a:rPr lang="es-ES" sz="12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 Convalidable con el curso de OF-BASIC (40h) de ANETVA, siempre y cuando la empresa que haya impartido dicha formación esté homologada para el Sector Telco </a:t>
            </a:r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r>
              <a:rPr lang="es-E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cate en alturas TELCO</a:t>
            </a:r>
          </a:p>
          <a:p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porcionar los conocimientos requeridos y estar capacitado para poder realizar maniobras de rescate de trabajadores en alturas. Dirigido a trabajadores con formación en Trabajo en Altura PRL-TELCO 2 y que vayan a ser formados en maniobras de rescate</a:t>
            </a:r>
          </a:p>
          <a:p>
            <a:r>
              <a:rPr lang="es-E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esgo Eléctrico PRL-TELCO </a:t>
            </a:r>
          </a:p>
          <a:p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porcionar los conocimientos requeridos y estar capacitado para poder prestar servicios como trabajador "autorizado" respecto a riesgo eléctrico.</a:t>
            </a:r>
          </a:p>
          <a:p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rigido a trabajadores cuya actividad se desarrolle en proximidad de instalaciones eléctricas o que realice tareas especificadas para trabajadores autorizados. (</a:t>
            </a:r>
            <a:r>
              <a:rPr lang="es-ES" sz="12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será obligatoria la formación de Riesgo eléctrico Telco para aquellos trabajadores que sean cualificados)</a:t>
            </a:r>
          </a:p>
          <a:p>
            <a:r>
              <a:rPr lang="es-ES" sz="12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pacios Confinados PRLTELCO</a:t>
            </a:r>
          </a:p>
          <a:p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porcionar los conocimientos requeridos y estar capacitado para poder prestar servicios en espacios confinados. dirigido a trabajadores cuya actividad se</a:t>
            </a:r>
          </a:p>
          <a:p>
            <a:r>
              <a:rPr lang="es-E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sarrolle en espacios confinados, cámaras de registro, recintos subterráneos,</a:t>
            </a: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6C3898-AFF7-6245-8B5C-06211330E49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415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TAD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64133" y="1707054"/>
            <a:ext cx="6894223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364133" y="4370096"/>
            <a:ext cx="7510849" cy="602916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9" name="CuadroTexto 8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3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2" name="CuadroTexto 11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920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71" y="1952099"/>
            <a:ext cx="11299075" cy="2953803"/>
          </a:xfrm>
          <a:prstGeom prst="rect">
            <a:avLst/>
          </a:prstGeom>
        </p:spPr>
        <p:txBody>
          <a:bodyPr lIns="121917" tIns="60958" rIns="121917" bIns="60958" anchor="ctr"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6000" b="0" i="0" kern="1200" spc="-100" baseline="0" dirty="0" smtClean="0">
                <a:solidFill>
                  <a:schemeClr val="tx1"/>
                </a:solidFill>
                <a:latin typeface="Arial Regular"/>
                <a:ea typeface="MS PGothic" pitchFamily="34" charset="-128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67881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dor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431371" y="1952099"/>
            <a:ext cx="11299075" cy="2953803"/>
          </a:xfrm>
          <a:prstGeom prst="rect">
            <a:avLst/>
          </a:prstGeom>
        </p:spPr>
        <p:txBody>
          <a:bodyPr lIns="121917" tIns="60958" rIns="121917" bIns="60958" anchor="ctr"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6000" b="0" i="0" kern="1200" spc="-100" baseline="0" dirty="0" smtClean="0">
                <a:solidFill>
                  <a:schemeClr val="tx1"/>
                </a:solidFill>
                <a:latin typeface="Arial Regular"/>
                <a:ea typeface="MS PGothic" pitchFamily="34" charset="-128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40485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371849" y="1591042"/>
            <a:ext cx="11233150" cy="4458066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71849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50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6026795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B 1 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7" name="2 Marcador de contenido">
            <a:extLst>
              <a:ext uri="{FF2B5EF4-FFF2-40B4-BE49-F238E27FC236}">
                <a16:creationId xmlns:a16="http://schemas.microsoft.com/office/drawing/2014/main" id="{2E15B05A-AF68-8641-87DF-5B472AA42A3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185457" y="1903967"/>
            <a:ext cx="6527117" cy="4080908"/>
          </a:xfrm>
          <a:prstGeom prst="rect">
            <a:avLst/>
          </a:prstGeom>
        </p:spPr>
        <p:txBody>
          <a:bodyPr numCol="1" spcCol="540000"/>
          <a:lstStyle>
            <a:lvl1pPr marL="0" indent="0">
              <a:lnSpc>
                <a:spcPct val="100000"/>
              </a:lnSpc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6734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B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Marcador de contenido">
            <a:extLst>
              <a:ext uri="{FF2B5EF4-FFF2-40B4-BE49-F238E27FC236}">
                <a16:creationId xmlns:a16="http://schemas.microsoft.com/office/drawing/2014/main" id="{2E15B05A-AF68-8641-87DF-5B472AA42A3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5185457" y="1903967"/>
            <a:ext cx="6527117" cy="4080908"/>
          </a:xfrm>
          <a:prstGeom prst="rect">
            <a:avLst/>
          </a:prstGeom>
        </p:spPr>
        <p:txBody>
          <a:bodyPr numCol="2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0C7CF2FC-76B7-2446-8CC4-B8999E96D58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DC65ED97-4AA1-0D41-ACEB-4F0486CF289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0" name="2 Marcador de contenido">
            <a:extLst>
              <a:ext uri="{FF2B5EF4-FFF2-40B4-BE49-F238E27FC236}">
                <a16:creationId xmlns:a16="http://schemas.microsoft.com/office/drawing/2014/main" id="{F016A68B-4623-AE41-8CA0-394D95904DAB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18805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B centrado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16284" y="1045754"/>
            <a:ext cx="8900931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16284" y="333375"/>
            <a:ext cx="8900931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7" name="2 Marcador de contenido">
            <a:extLst>
              <a:ext uri="{FF2B5EF4-FFF2-40B4-BE49-F238E27FC236}">
                <a16:creationId xmlns:a16="http://schemas.microsoft.com/office/drawing/2014/main" id="{2E15B05A-AF68-8641-87DF-5B472AA42A3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90515" y="1881188"/>
            <a:ext cx="11322060" cy="4103687"/>
          </a:xfrm>
          <a:prstGeom prst="rect">
            <a:avLst/>
          </a:prstGeom>
        </p:spPr>
        <p:txBody>
          <a:bodyPr numCol="2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562841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B centrado, parrafo y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Marcador de contenido">
            <a:extLst>
              <a:ext uri="{FF2B5EF4-FFF2-40B4-BE49-F238E27FC236}">
                <a16:creationId xmlns:a16="http://schemas.microsoft.com/office/drawing/2014/main" id="{2E15B05A-AF68-8641-87DF-5B472AA42A3F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98743" y="1903967"/>
            <a:ext cx="11313832" cy="624080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6" name="2 Marcador de contenido">
            <a:extLst>
              <a:ext uri="{FF2B5EF4-FFF2-40B4-BE49-F238E27FC236}">
                <a16:creationId xmlns:a16="http://schemas.microsoft.com/office/drawing/2014/main" id="{2B29A4BC-5CF6-E04D-AC33-10856062E6B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8743" y="2675965"/>
            <a:ext cx="11313832" cy="3308909"/>
          </a:xfrm>
          <a:prstGeom prst="rect">
            <a:avLst/>
          </a:prstGeom>
        </p:spPr>
        <p:txBody>
          <a:bodyPr numCol="2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4C029871-3A6A-0D45-ADDD-725666C166C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16284" y="1045754"/>
            <a:ext cx="8900931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1196719E-EAB3-2E40-881D-C8C9B118EBB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16284" y="333375"/>
            <a:ext cx="8900931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4247752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erior - Texto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11233150" cy="4458066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97482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3" y="333375"/>
            <a:ext cx="7497481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12982276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2C775D-B279-BD49-B9C8-710C6D8F6F0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553635" y="-2614"/>
            <a:ext cx="6638365" cy="39121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  <a:lvl3pPr marL="1219170" indent="0" algn="ctr">
              <a:buNone/>
              <a:defRPr sz="1800" b="0" i="0">
                <a:latin typeface="Arial Regular"/>
              </a:defRPr>
            </a:lvl3pPr>
          </a:lstStyle>
          <a:p>
            <a:pPr lvl="2"/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B6266B54-AE69-F44F-843B-9B28069A0BB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71849" y="2654761"/>
            <a:ext cx="3923926" cy="3221604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D4C45497-0DEA-0240-B442-BCCE5B322A6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71850" y="2109473"/>
            <a:ext cx="3923926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C065FC5B-7644-3E47-9CD5-40BF40671FB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50" y="1397094"/>
            <a:ext cx="3923925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24376618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B6266B54-AE69-F44F-843B-9B28069A0BB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71849" y="2654761"/>
            <a:ext cx="3923926" cy="3221604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D4C45497-0DEA-0240-B442-BCCE5B322A6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71850" y="2109473"/>
            <a:ext cx="3923926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C065FC5B-7644-3E47-9CD5-40BF40671FB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50" y="1397094"/>
            <a:ext cx="3923925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25BFC293-3A20-8E49-B204-E07D6E4167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-2614"/>
            <a:ext cx="3049200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7C8BA22E-8696-134F-82F0-050458930E7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1088" y="3426387"/>
            <a:ext cx="3055088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</p:spTree>
    <p:extLst>
      <p:ext uri="{BB962C8B-B14F-4D97-AF65-F5344CB8AC3E}">
        <p14:creationId xmlns:p14="http://schemas.microsoft.com/office/powerpoint/2010/main" val="595601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ses Reflex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2 Marcador de contenido">
            <a:extLst>
              <a:ext uri="{FF2B5EF4-FFF2-40B4-BE49-F238E27FC236}">
                <a16:creationId xmlns:a16="http://schemas.microsoft.com/office/drawing/2014/main" id="{80D7ED06-25D2-B042-972C-8ECEAF067668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64133" y="1707054"/>
            <a:ext cx="6894223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65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11" name="CuadroTexto 10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3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4" name="CuadroTexto 13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6010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et the 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25BFC293-3A20-8E49-B204-E07D6E4167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-2614"/>
            <a:ext cx="3055088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7C8BA22E-8696-134F-82F0-050458930E7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1088" y="3426387"/>
            <a:ext cx="3055088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55698A1-4D0A-7840-9509-509219909BF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27008" y="-2614"/>
            <a:ext cx="3055088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EEDFEA1-C7CF-7146-B99C-D97063A5915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6934" y="3426387"/>
            <a:ext cx="3045661" cy="3431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</p:spTree>
    <p:extLst>
      <p:ext uri="{BB962C8B-B14F-4D97-AF65-F5344CB8AC3E}">
        <p14:creationId xmlns:p14="http://schemas.microsoft.com/office/powerpoint/2010/main" val="7850965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et the team 4 carn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A34191-2926-8C40-B064-492B63D059E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112884" y="1924050"/>
            <a:ext cx="1870854" cy="22479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CCBA73E-61EB-4540-A709-BBE34C009DC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792584" y="1924050"/>
            <a:ext cx="1870854" cy="22479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4C9E6D42-D93E-BD46-AA97-E99C34CAFB0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504034" y="1924050"/>
            <a:ext cx="1870854" cy="22479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CFF7706-C30A-FB47-9D23-CBA2C7CF723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96434" y="1924050"/>
            <a:ext cx="1870854" cy="22479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71849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50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1254992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_izquierda con 1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7DF09B-4924-714D-9A2F-BFE9D1C127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385297" y="1597131"/>
            <a:ext cx="5166424" cy="4352256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7" y="1051843"/>
            <a:ext cx="5166423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8" y="339464"/>
            <a:ext cx="5166423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7479140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_izqueirda con 2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7DF09B-4924-714D-9A2F-BFE9D1C127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57950" y="-12192"/>
            <a:ext cx="5734050" cy="3441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146CC7C-B740-6548-8E54-91850A0852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457950" y="3425953"/>
            <a:ext cx="5734050" cy="34320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0025F8F1-D39C-8B40-B9E5-3C506332119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85296" y="1597131"/>
            <a:ext cx="5166423" cy="4352256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7B1109B3-2468-4A42-9200-3608DB6B91E0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7" y="1051843"/>
            <a:ext cx="5166422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5A4B4E6-8BF1-8544-B13C-5CFFD88DAF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8" y="339464"/>
            <a:ext cx="5166422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40060273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_Izquierda con 4 imá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94BA0B8-FC8A-6C48-BBE4-F0B884C8F16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57949" y="3506769"/>
            <a:ext cx="2877961" cy="335657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3CE288D1-27F1-2C48-96A5-35E3B43336C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57949" y="-12193"/>
            <a:ext cx="2877961" cy="35189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3ABC16EA-DA7D-3E4C-8E6A-DFD520FA7B4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35911" y="3506769"/>
            <a:ext cx="2856089" cy="335657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1" name="2 Marcador de contenido">
            <a:extLst>
              <a:ext uri="{FF2B5EF4-FFF2-40B4-BE49-F238E27FC236}">
                <a16:creationId xmlns:a16="http://schemas.microsoft.com/office/drawing/2014/main" id="{579EFC42-303E-F942-987B-CE17D2A3A75C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85297" y="1597131"/>
            <a:ext cx="5166424" cy="4352256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8369CBF-523B-F64D-BE0F-BC58A073E58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7" y="1051843"/>
            <a:ext cx="5166423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2A40A7CA-EC13-024F-9C3C-33D1856568D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8" y="339464"/>
            <a:ext cx="5166423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1048F86-300F-0542-B70B-18D19E2C24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335911" y="-12193"/>
            <a:ext cx="2856089" cy="35189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3386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Izquierda con 6 imá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77E30DA6-A49D-1F4F-BAB8-F0EB54EBE2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335911" y="2300288"/>
            <a:ext cx="2856089" cy="23104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94BA0B8-FC8A-6C48-BBE4-F0B884C8F16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457949" y="0"/>
            <a:ext cx="2877961" cy="2300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3ABC16EA-DA7D-3E4C-8E6A-DFD520FA7B4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335911" y="0"/>
            <a:ext cx="2856089" cy="23002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AC4F525C-0FD7-784C-96C2-0B47DE791E6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457949" y="4610747"/>
            <a:ext cx="2877961" cy="22472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99E16653-4F2E-A449-8578-E9D5D67D20B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335911" y="4610747"/>
            <a:ext cx="2856089" cy="22472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644E41B-7A75-6C4B-927B-E3522B68837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57949" y="2300288"/>
            <a:ext cx="2877961" cy="23104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1" name="2 Marcador de contenido">
            <a:extLst>
              <a:ext uri="{FF2B5EF4-FFF2-40B4-BE49-F238E27FC236}">
                <a16:creationId xmlns:a16="http://schemas.microsoft.com/office/drawing/2014/main" id="{42040C2F-2569-D04F-BD06-10669B71A2DC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85297" y="1597131"/>
            <a:ext cx="5166424" cy="4352256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C7870DF6-9648-C74B-B323-6371A892AB0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7" y="1051843"/>
            <a:ext cx="5166423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26319F3A-178C-964B-81DD-04665D8F644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8" y="339464"/>
            <a:ext cx="5166423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9964418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_derecha con 1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7DF09B-4924-714D-9A2F-BFE9D1C127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6640279" y="1591042"/>
            <a:ext cx="5072296" cy="4543540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640279" y="1045754"/>
            <a:ext cx="5072295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640280" y="333375"/>
            <a:ext cx="5072295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27379310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_derecha con 2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7DF09B-4924-714D-9A2F-BFE9D1C1273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-12192"/>
            <a:ext cx="5734050" cy="3441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A146CC7C-B740-6548-8E54-91850A0852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25952"/>
            <a:ext cx="5734050" cy="34320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1" name="2 Marcador de contenido">
            <a:extLst>
              <a:ext uri="{FF2B5EF4-FFF2-40B4-BE49-F238E27FC236}">
                <a16:creationId xmlns:a16="http://schemas.microsoft.com/office/drawing/2014/main" id="{16DE67A4-A1D5-7F41-A086-800D304088C4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640279" y="1591042"/>
            <a:ext cx="5072296" cy="4543540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6E5B4629-2EFC-5548-9A03-66117DB89CF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640279" y="1045754"/>
            <a:ext cx="5072295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02F63E3D-D9E0-AD41-8D09-603B28F1B49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640280" y="333375"/>
            <a:ext cx="5072295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182549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_derecha con 4 imá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3CE288D1-27F1-2C48-96A5-35E3B43336C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-10232" y="-12193"/>
            <a:ext cx="2877961" cy="35412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1048F86-300F-0542-B70B-18D19E2C24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67730" y="-12193"/>
            <a:ext cx="2856089" cy="354120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A94BA0B8-FC8A-6C48-BBE4-F0B884C8F16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-10232" y="3529011"/>
            <a:ext cx="2877961" cy="3334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3ABC16EA-DA7D-3E4C-8E6A-DFD520FA7B4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867730" y="3529011"/>
            <a:ext cx="2856089" cy="3334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37A8200F-4290-C64C-86E4-4057D58AA50A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640277" y="1591042"/>
            <a:ext cx="5072297" cy="4543540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303CDA-4AD2-8842-B927-F30F0708386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640278" y="1045754"/>
            <a:ext cx="5072296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23CAEFD0-465F-9044-B28E-D0AD60F76227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640279" y="333375"/>
            <a:ext cx="5072296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7290579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_derecha con 6 imá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644E41B-7A75-6C4B-927B-E3522B68837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2265904"/>
            <a:ext cx="2873829" cy="23670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AC4F525C-0FD7-784C-96C2-0B47DE791E6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0" y="4632959"/>
            <a:ext cx="2873829" cy="222504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A9B0F971-DD45-D941-BF35-B2DB377088B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-24680" y="-1"/>
            <a:ext cx="2898508" cy="22713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77E30DA6-A49D-1F4F-BAB8-F0EB54EBE2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873829" y="2260879"/>
            <a:ext cx="2849990" cy="23717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3ABC16EA-DA7D-3E4C-8E6A-DFD520FA7B4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2873829" y="-1"/>
            <a:ext cx="2849991" cy="2271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99E16653-4F2E-A449-8578-E9D5D67D20B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73830" y="4632627"/>
            <a:ext cx="2849990" cy="222537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6" name="2 Marcador de contenido">
            <a:extLst>
              <a:ext uri="{FF2B5EF4-FFF2-40B4-BE49-F238E27FC236}">
                <a16:creationId xmlns:a16="http://schemas.microsoft.com/office/drawing/2014/main" id="{DC2A0D1E-6D38-DB4F-8383-4D7F4F413BA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640277" y="1591042"/>
            <a:ext cx="5072297" cy="4543540"/>
          </a:xfrm>
          <a:prstGeom prst="rect">
            <a:avLst/>
          </a:prstGeom>
        </p:spPr>
        <p:txBody>
          <a:bodyPr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B31A2B74-A8AD-6543-B07C-954DD97C8C6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640278" y="1045754"/>
            <a:ext cx="5072296" cy="54528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813D73F2-B3BA-2546-AD62-FE3FA46013C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640279" y="333375"/>
            <a:ext cx="5072296" cy="70793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2789907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1 con 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26EB619-2F23-944F-AC90-E7FDC69450D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6225" y="0"/>
            <a:ext cx="42957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64133" y="1707054"/>
            <a:ext cx="6894223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ts val="5000"/>
              </a:lnSpc>
              <a:spcBef>
                <a:spcPts val="1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364133" y="4370096"/>
            <a:ext cx="7510849" cy="602916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02" y="610376"/>
            <a:ext cx="1828800" cy="284356"/>
          </a:xfrm>
          <a:prstGeom prst="rect">
            <a:avLst/>
          </a:prstGeom>
        </p:spPr>
      </p:pic>
      <p:sp>
        <p:nvSpPr>
          <p:cNvPr id="3" name="CuadroTexto 2"/>
          <p:cNvSpPr txBox="1"/>
          <p:nvPr userDrawn="1"/>
        </p:nvSpPr>
        <p:spPr bwMode="auto">
          <a:xfrm>
            <a:off x="10438688" y="6317185"/>
            <a:ext cx="158763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4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4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7378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pos="2683" userDrawn="1">
          <p15:clr>
            <a:srgbClr val="A4A3A4"/>
          </p15:clr>
        </p15:guide>
        <p15:guide id="6" pos="4974" userDrawn="1">
          <p15:clr>
            <a:srgbClr val="A4A3A4"/>
          </p15:clr>
        </p15:guide>
        <p15:guide id="7" orient="horz" pos="1253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3067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Descriptor Izquierda 1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6" y="2593567"/>
            <a:ext cx="3910644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6" y="1881188"/>
            <a:ext cx="393121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903768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775402B-1EF2-0440-B086-77E8D11651D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5458" y="0"/>
            <a:ext cx="700654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515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Descriptor Izquierda 2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491F5F9-1F54-604F-8D22-76E9F6CB44E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185457" y="-12192"/>
            <a:ext cx="7006543" cy="3441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981E48B-0750-7F42-8AB1-DC26B0DC77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185457" y="3425953"/>
            <a:ext cx="7006543" cy="34320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0" i="0">
                <a:latin typeface="Arial Regular"/>
              </a:defRPr>
            </a:lvl1pPr>
          </a:lstStyle>
          <a:p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C54D194B-BE8D-174B-9CFD-7138F5DC4B9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6" y="2593567"/>
            <a:ext cx="3910644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1729DAB5-6D05-6248-A08D-51002E2ABF76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6" y="1881188"/>
            <a:ext cx="393121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4" name="2 Marcador de contenido">
            <a:extLst>
              <a:ext uri="{FF2B5EF4-FFF2-40B4-BE49-F238E27FC236}">
                <a16:creationId xmlns:a16="http://schemas.microsoft.com/office/drawing/2014/main" id="{3CAA9F4D-AF7A-694A-8ACC-6D01DFAFE862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903768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64281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Descriptor Izquierda 4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A2E496D3-3869-234A-9A13-8CCEAD73B80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5457" y="3437063"/>
            <a:ext cx="3426108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38F9E24-F616-9E40-9C1C-C1418EA4446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611564" y="3437063"/>
            <a:ext cx="3580435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BA9A3FD-093C-074E-9946-64F486B3B5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85457" y="-12193"/>
            <a:ext cx="3426108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58F5093-D077-814F-9520-1537D1E768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611564" y="-12193"/>
            <a:ext cx="3580435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0228A351-EF8A-F342-A328-2AE2B2CA56DC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6" y="2593567"/>
            <a:ext cx="3910644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FAD8408-8FDF-8544-8B76-944E98546B2A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6" y="1881188"/>
            <a:ext cx="393121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5" name="2 Marcador de contenido">
            <a:extLst>
              <a:ext uri="{FF2B5EF4-FFF2-40B4-BE49-F238E27FC236}">
                <a16:creationId xmlns:a16="http://schemas.microsoft.com/office/drawing/2014/main" id="{92F42205-5F53-054D-9C31-3FC07D4E5C04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903768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181388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 Descriptor Izquierda 6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A2E496D3-3869-234A-9A13-8CCEAD73B80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185457" y="3428674"/>
            <a:ext cx="2361237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BA9A3FD-093C-074E-9946-64F486B3B5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85457" y="-12193"/>
            <a:ext cx="2361237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ED25D7C-86D8-2549-9EC6-32D5DBCABB6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546694" y="3428674"/>
            <a:ext cx="2361237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8913954B-C436-9943-A49A-7CF619DB23C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546694" y="-12193"/>
            <a:ext cx="2361237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23B07957-05AB-E749-85B9-1D448977C010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907931" y="3428674"/>
            <a:ext cx="2361237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C37E4F1-C949-BB43-A320-319112CF960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907931" y="-12193"/>
            <a:ext cx="2361237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1D4DD410-CEA5-5E44-836F-926F3AEE664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6" y="2593567"/>
            <a:ext cx="3910644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F9D58645-1CC4-E34C-BB48-187B1FF7431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85296" y="1881188"/>
            <a:ext cx="393121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9" name="2 Marcador de contenido">
            <a:extLst>
              <a:ext uri="{FF2B5EF4-FFF2-40B4-BE49-F238E27FC236}">
                <a16:creationId xmlns:a16="http://schemas.microsoft.com/office/drawing/2014/main" id="{AC7E9983-7B96-614C-B69A-4C72F74CCC3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903768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9180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Descriptor Izquierda 1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775402B-1EF2-0440-B086-77E8D11651D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7006542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A2B6030-E20A-9747-A484-20738961937C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88713" y="2593567"/>
            <a:ext cx="3816350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1293266-03CD-8A4D-ACF3-18BA870A1957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88712" y="1881188"/>
            <a:ext cx="3890307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4" name="2 Marcador de contenido">
            <a:extLst>
              <a:ext uri="{FF2B5EF4-FFF2-40B4-BE49-F238E27FC236}">
                <a16:creationId xmlns:a16="http://schemas.microsoft.com/office/drawing/2014/main" id="{D223834F-9BD2-9142-835E-885D6DFDAB4C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794512" y="3431826"/>
            <a:ext cx="3809639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697250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Descriptor Izquierda 2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491F5F9-1F54-604F-8D22-76E9F6CB44E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-12192"/>
            <a:ext cx="7006543" cy="34411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981E48B-0750-7F42-8AB1-DC26B0DC77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3425953"/>
            <a:ext cx="7006543" cy="343204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30770DA2-79A9-084A-B44C-34FC77C047B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88713" y="2593567"/>
            <a:ext cx="3816350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AF3C6EA4-448F-DC4C-9723-47CEDE52E69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88712" y="1881188"/>
            <a:ext cx="3890307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7" name="2 Marcador de contenido">
            <a:extLst>
              <a:ext uri="{FF2B5EF4-FFF2-40B4-BE49-F238E27FC236}">
                <a16:creationId xmlns:a16="http://schemas.microsoft.com/office/drawing/2014/main" id="{0997BE0A-68ED-4947-A3F6-B153447AA5D2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794512" y="3431826"/>
            <a:ext cx="3809639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09019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 Descriptor Izquierda 4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A2E496D3-3869-234A-9A13-8CCEAD73B80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3428674"/>
            <a:ext cx="3426108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38F9E24-F616-9E40-9C1C-C1418EA4446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426107" y="3428674"/>
            <a:ext cx="3580435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BA9A3FD-093C-074E-9946-64F486B3B5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-12193"/>
            <a:ext cx="3426108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958F5093-D077-814F-9520-1537D1E768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426107" y="-12193"/>
            <a:ext cx="3580435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0A731DEF-E04C-0940-80EE-532FF5BA5492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88713" y="2593567"/>
            <a:ext cx="3816350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576CA0FC-C419-D942-B5B3-797135501DC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88712" y="1881188"/>
            <a:ext cx="3890307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5" name="2 Marcador de contenido">
            <a:extLst>
              <a:ext uri="{FF2B5EF4-FFF2-40B4-BE49-F238E27FC236}">
                <a16:creationId xmlns:a16="http://schemas.microsoft.com/office/drawing/2014/main" id="{81DB3023-DB2B-7F4F-8CF6-9710442A8C3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794512" y="3431826"/>
            <a:ext cx="3809639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38345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 Descriptor Izquierda 6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23B07957-05AB-E749-85B9-1D448977C010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653023" y="3421021"/>
            <a:ext cx="2338091" cy="343697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C37E4F1-C949-BB43-A320-319112CF960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653023" y="-12193"/>
            <a:ext cx="2338091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7E763E43-B5EF-5E43-B5C9-BF6912B9CF1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314932" y="3421021"/>
            <a:ext cx="2338091" cy="34369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E251B49C-DEF6-584F-97E1-A1DEFBF671A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314932" y="-12193"/>
            <a:ext cx="2338091" cy="344401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5100AE05-2BEC-6E4D-B42B-FB6D7504965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-23159" y="3421021"/>
            <a:ext cx="2338091" cy="343697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71FB966C-80AA-744B-A754-FC1FB3DB6859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-23159" y="-12193"/>
            <a:ext cx="2338091" cy="34440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5CC75F7F-3B64-F546-AD67-D91EBA0135E7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88713" y="2593567"/>
            <a:ext cx="3816350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24B61AE9-C03F-214B-B61B-C98D1C2ED409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88712" y="1881188"/>
            <a:ext cx="3890307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6" name="2 Marcador de contenido">
            <a:extLst>
              <a:ext uri="{FF2B5EF4-FFF2-40B4-BE49-F238E27FC236}">
                <a16:creationId xmlns:a16="http://schemas.microsoft.com/office/drawing/2014/main" id="{D2CC1545-ADCB-2844-9D4B-B8F3198C2D53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794512" y="3431826"/>
            <a:ext cx="3809639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438614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 B centrado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31300C39-270D-2641-A519-34FDD55FEFF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2290542"/>
            <a:ext cx="12192000" cy="45758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79A25-D1F4-484A-A091-BE070195DBA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16284" y="1045754"/>
            <a:ext cx="8900931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C9FCDADD-4CC3-3844-B894-3582A91D9AE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16284" y="333375"/>
            <a:ext cx="8900931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271035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 B centrado 2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31300C39-270D-2641-A519-34FDD55FEFF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2290542"/>
            <a:ext cx="6088284" cy="45758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C8FF1B71-60ED-FF4F-BCC4-0299856F81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8284" y="2290542"/>
            <a:ext cx="6103716" cy="457584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197D961D-FB84-9F46-9644-7DEFD7D9FF88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516284" y="1045754"/>
            <a:ext cx="8900931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889BECC4-9B82-7945-8E73-1DD3DFE92CF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1516284" y="333375"/>
            <a:ext cx="8900931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662245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TADA 1 con imag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64133" y="1707054"/>
            <a:ext cx="6894223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364133" y="4370096"/>
            <a:ext cx="7510849" cy="602916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5507E60-13E1-B442-A715-538A718CC1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6225" y="0"/>
            <a:ext cx="42957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902" y="610376"/>
            <a:ext cx="1828800" cy="28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0814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o_centrado con 3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3292476" y="1591043"/>
            <a:ext cx="5607049" cy="1237882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292476" y="1045754"/>
            <a:ext cx="5607048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92476" y="333375"/>
            <a:ext cx="5607048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E92EBF6-E0D5-074B-9C51-6D33D48615F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" y="3429000"/>
            <a:ext cx="12192000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15" name="CuadroTexto 14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 userDrawn="1"/>
        </p:nvPicPr>
        <p:blipFill rotWithShape="1">
          <a:blip r:embed="rId3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7" name="CuadroTexto 16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325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o_centrado con 3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E11D19B-2281-DE45-9226-F71E19870EF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091518" y="3429000"/>
            <a:ext cx="6100482" cy="3429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3292476" y="1591043"/>
            <a:ext cx="5607049" cy="1237882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292476" y="1045754"/>
            <a:ext cx="5607048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92476" y="333375"/>
            <a:ext cx="5607048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E92EBF6-E0D5-074B-9C51-6D33D48615F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" y="3429000"/>
            <a:ext cx="6091517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2281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o_centrado con 3 imag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Marcador de contenido"/>
          <p:cNvSpPr>
            <a:spLocks noGrp="1"/>
          </p:cNvSpPr>
          <p:nvPr>
            <p:ph sz="half" idx="12"/>
          </p:nvPr>
        </p:nvSpPr>
        <p:spPr>
          <a:xfrm>
            <a:off x="3292476" y="1591043"/>
            <a:ext cx="5607049" cy="1237882"/>
          </a:xfrm>
          <a:prstGeom prst="rect">
            <a:avLst/>
          </a:prstGeom>
        </p:spPr>
        <p:txBody>
          <a:bodyPr/>
          <a:lstStyle>
            <a:lvl1pPr marL="0" indent="0" algn="ctr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292476" y="1045754"/>
            <a:ext cx="5607048" cy="5452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292476" y="333375"/>
            <a:ext cx="5607048" cy="7079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A03FE19-7811-AF4D-9CCC-E7756604CB9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" y="3429000"/>
            <a:ext cx="4200144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E92EBF6-E0D5-074B-9C51-6D33D48615F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991856" y="3429000"/>
            <a:ext cx="4200144" cy="3428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953541B5-4A8A-364B-885E-E454795D33C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00144" y="3429000"/>
            <a:ext cx="3791712" cy="3428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0882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movil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9095628" y="1721224"/>
            <a:ext cx="2132666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2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B6AAD01-A3EA-E346-A743-19A5AAA7907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4945" y="1139222"/>
            <a:ext cx="2328165" cy="474649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4000" y="1735138"/>
            <a:ext cx="2044700" cy="35893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8804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ck up movil con mano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47373CF-0613-EE49-9B6F-A261348BAC11}"/>
              </a:ext>
            </a:extLst>
          </p:cNvPr>
          <p:cNvGrpSpPr/>
          <p:nvPr userDrawn="1"/>
        </p:nvGrpSpPr>
        <p:grpSpPr>
          <a:xfrm>
            <a:off x="7156829" y="-2211045"/>
            <a:ext cx="6241896" cy="9069046"/>
            <a:chOff x="7156829" y="-2211045"/>
            <a:chExt cx="6241896" cy="906904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DE8021D-0CD3-B14E-9DD2-E39EB075D6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56829" y="-2211045"/>
              <a:ext cx="6241896" cy="9069046"/>
            </a:xfrm>
            <a:prstGeom prst="rect">
              <a:avLst/>
            </a:prstGeom>
            <a:effectLst/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B6AAD01-A3EA-E346-A743-19A5AAA790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86385" y="1139222"/>
              <a:ext cx="2328165" cy="4746495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9167068" y="1721224"/>
            <a:ext cx="2132666" cy="36710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2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64114" y="1721224"/>
            <a:ext cx="2132666" cy="36710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9212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ock up ipad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7274859" y="1795182"/>
            <a:ext cx="5607423" cy="41839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DFA715-D458-5B4A-9553-F190469077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518594" y="260348"/>
            <a:ext cx="5190463" cy="7206593"/>
          </a:xfrm>
          <a:prstGeom prst="rect">
            <a:avLst/>
          </a:prstGeom>
          <a:effectLst/>
        </p:spPr>
      </p:pic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1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68988" y="1801150"/>
            <a:ext cx="5513294" cy="41199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8656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ock up laptop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solidFill>
                <a:schemeClr val="bg1"/>
              </a:solidFill>
              <a:latin typeface="Arial Regular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8EBAD6D-3967-3B46-B7B3-3743B53640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561" y="1304924"/>
            <a:ext cx="8249171" cy="4945577"/>
          </a:xfrm>
          <a:prstGeom prst="rect">
            <a:avLst/>
          </a:prstGeom>
          <a:effec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6823494" y="1688487"/>
            <a:ext cx="6314989" cy="39422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5640" y="1688488"/>
            <a:ext cx="6234717" cy="39422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1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8364595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ock up reloj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1A63EEB-C071-FB4D-AB61-553411196C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1346" y="-804673"/>
            <a:ext cx="4432668" cy="8570977"/>
          </a:xfrm>
          <a:prstGeom prst="rect">
            <a:avLst/>
          </a:prstGeom>
          <a:effec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6750050" y="1790700"/>
            <a:ext cx="2716679" cy="34344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50050" y="1790699"/>
            <a:ext cx="2716679" cy="33782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imagen</a:t>
            </a:r>
          </a:p>
          <a:p>
            <a:endParaRPr lang="en-US" dirty="0"/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1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41911041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Mock up grupo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6084602-104B-D246-83F8-F31EC5D20BE3}"/>
              </a:ext>
            </a:extLst>
          </p:cNvPr>
          <p:cNvSpPr/>
          <p:nvPr userDrawn="1"/>
        </p:nvSpPr>
        <p:spPr>
          <a:xfrm>
            <a:off x="4389120" y="4519237"/>
            <a:ext cx="850392" cy="104945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28E009A-F6F7-F34E-9943-F0332C1B20B1}"/>
              </a:ext>
            </a:extLst>
          </p:cNvPr>
          <p:cNvSpPr/>
          <p:nvPr userDrawn="1"/>
        </p:nvSpPr>
        <p:spPr>
          <a:xfrm>
            <a:off x="6015539" y="2542032"/>
            <a:ext cx="1773483" cy="33839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9A02A2D-8963-D64D-A837-56FA4DC1E2A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8EE0D33-0A3D-6D4D-81B6-299947ABCF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9307361" y="525790"/>
            <a:ext cx="4939393" cy="6858000"/>
          </a:xfrm>
          <a:prstGeom prst="rect">
            <a:avLst/>
          </a:prstGeom>
          <a:effectLst/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35D291F-65C9-D644-AFA2-8F920D37B100}"/>
              </a:ext>
            </a:extLst>
          </p:cNvPr>
          <p:cNvSpPr/>
          <p:nvPr userDrawn="1"/>
        </p:nvSpPr>
        <p:spPr>
          <a:xfrm>
            <a:off x="9156301" y="1983644"/>
            <a:ext cx="5236873" cy="39422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0EF3515-4194-0A4C-8160-6BC0A55D321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98743" y="1591042"/>
            <a:ext cx="7497482" cy="1542123"/>
          </a:xfrm>
          <a:prstGeom prst="rect">
            <a:avLst/>
          </a:prstGeom>
        </p:spPr>
        <p:txBody>
          <a:bodyPr numCol="1" spcCol="36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E7B963F-7AF5-3C45-B7C4-666182FE897B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98743" y="1045754"/>
            <a:ext cx="7416799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B195CFE-263D-9D4C-9B83-13A10FA6BCA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98744" y="333375"/>
            <a:ext cx="7416798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6DC7F6E-C2F7-5447-9881-5EECEF0D8D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6156" y="3840639"/>
            <a:ext cx="1243445" cy="2404317"/>
          </a:xfrm>
          <a:prstGeom prst="rect">
            <a:avLst/>
          </a:prstGeom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9464F97-882D-7840-87ED-F566D147E9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901" y="2088732"/>
            <a:ext cx="1998958" cy="4075330"/>
          </a:xfrm>
          <a:prstGeom prst="rect">
            <a:avLst/>
          </a:prstGeom>
          <a:effectLst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FE374B6-3A63-9C4E-9B2A-B22F549541A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50861" y="4572000"/>
            <a:ext cx="750277" cy="9378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95CFFCC1-1869-764B-AC98-4C70627EA6D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24050" y="2602523"/>
            <a:ext cx="1764972" cy="30753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C77DF0D9-574F-6C4A-80E1-D74CDD65C97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56300" y="1983643"/>
            <a:ext cx="5236873" cy="39422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2931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movil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38F14FF-6980-B14E-80B8-D78BE6262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4945" y="1139222"/>
            <a:ext cx="2328165" cy="4746495"/>
          </a:xfrm>
          <a:prstGeom prst="rect">
            <a:avLst/>
          </a:prstGeom>
        </p:spPr>
      </p:pic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640C8CE-F48B-A144-B723-3DE89FDAAEC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44000" y="1735138"/>
            <a:ext cx="2044700" cy="35893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362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TADA 1 con imagen Logo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2" hasCustomPrompt="1"/>
          </p:nvPr>
        </p:nvSpPr>
        <p:spPr>
          <a:xfrm>
            <a:off x="364133" y="1707054"/>
            <a:ext cx="6894223" cy="29645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5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sz="half" idx="13" hasCustomPrompt="1"/>
          </p:nvPr>
        </p:nvSpPr>
        <p:spPr>
          <a:xfrm>
            <a:off x="364133" y="4370096"/>
            <a:ext cx="7510849" cy="602916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l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lang="es-ES" altLang="es-ES" sz="2000" b="0" i="0" kern="1200" spc="-10" baseline="0" dirty="0" smtClean="0">
                <a:solidFill>
                  <a:schemeClr val="tx1"/>
                </a:solidFill>
                <a:latin typeface="Arial Regular"/>
                <a:ea typeface="Arial Regular"/>
                <a:cs typeface="Arial" charset="0"/>
                <a:sym typeface="Gill Sans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3pPr>
            <a:lvl4pPr>
              <a:buClr>
                <a:schemeClr val="bg1"/>
              </a:buClr>
              <a:defRPr lang="es-ES" altLang="es-ES" sz="1900" b="0" kern="1200" baseline="0" dirty="0" smtClean="0">
                <a:solidFill>
                  <a:schemeClr val="bg1"/>
                </a:solidFill>
                <a:latin typeface="Telefonica ExtraLight"/>
                <a:ea typeface="MS PGothic" pitchFamily="34" charset="-128"/>
                <a:cs typeface="Telefonica ExtraLight"/>
                <a:sym typeface="Gill Sans" charset="0"/>
              </a:defRPr>
            </a:lvl4pPr>
            <a:lvl5pPr>
              <a:buClr>
                <a:schemeClr val="tx2"/>
              </a:buClr>
              <a:defRPr sz="27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5507E60-13E1-B442-A715-538A718CC10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96225" y="0"/>
            <a:ext cx="429577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F962C5-B146-4A43-A444-F7C864CC7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8569" y="518763"/>
            <a:ext cx="1671434" cy="459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0043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movil con mano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D66BFB-D49F-A244-A1F9-F581FBB40F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6829" y="-2211045"/>
            <a:ext cx="6241896" cy="9069046"/>
          </a:xfrm>
          <a:prstGeom prst="rect">
            <a:avLst/>
          </a:prstGeom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94B4C69-B289-C345-98FD-7481695A12EA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2080" y="1139222"/>
            <a:ext cx="2328165" cy="474649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DF9DCA-DEBD-B34A-A4D4-9D2FC674AA48}"/>
              </a:ext>
            </a:extLst>
          </p:cNvPr>
          <p:cNvSpPr/>
          <p:nvPr userDrawn="1"/>
        </p:nvSpPr>
        <p:spPr>
          <a:xfrm>
            <a:off x="9142763" y="1721224"/>
            <a:ext cx="2132666" cy="36049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8D2767E-9A94-5C4D-8ACB-7DF3F70AAF92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9142763" y="1721225"/>
            <a:ext cx="2132666" cy="36049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366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ipad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BAA014-E3A8-9945-9FFF-86A459DF67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7518594" y="260348"/>
            <a:ext cx="5190463" cy="7206593"/>
          </a:xfrm>
          <a:prstGeom prst="rect">
            <a:avLst/>
          </a:prstGeom>
          <a:effectLst/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223D9ABE-7C05-394E-AEA6-1786467CC89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368988" y="1801150"/>
            <a:ext cx="5513294" cy="41199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023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laptop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00D549-D5BF-AA4A-9635-10654005E7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561" y="1304924"/>
            <a:ext cx="8249171" cy="4945577"/>
          </a:xfrm>
          <a:prstGeom prst="rect">
            <a:avLst/>
          </a:prstGeom>
          <a:effectLst/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0B962AB0-4970-EE41-8344-7D81D68D313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55640" y="1688488"/>
            <a:ext cx="6234717" cy="39422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932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reloj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8E81E4-4111-4148-A8D6-57C2A2BD0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1346" y="-804673"/>
            <a:ext cx="4432668" cy="8570977"/>
          </a:xfrm>
          <a:prstGeom prst="rect">
            <a:avLst/>
          </a:prstGeom>
          <a:effectLst/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B0F3879A-CF34-9A41-81E1-A2E71099348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50050" y="1790699"/>
            <a:ext cx="2716679" cy="33782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0" i="0"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217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 up grupo Fondo oscu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20D6A149-3323-AD45-A0FF-DA3190C58AA3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85295" y="2593567"/>
            <a:ext cx="3893933" cy="545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Escribe aquí el subtítulo</a:t>
            </a:r>
            <a:endParaRPr lang="en-US" dirty="0"/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9D519E4-86D7-0040-9207-F996F68FD6B8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371849" y="1881188"/>
            <a:ext cx="390738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Escribe aquí el título</a:t>
            </a:r>
            <a:endParaRPr lang="en-US" sz="3600" b="0" dirty="0"/>
          </a:p>
        </p:txBody>
      </p:sp>
      <p:sp>
        <p:nvSpPr>
          <p:cNvPr id="8" name="2 Marcador de contenido">
            <a:extLst>
              <a:ext uri="{FF2B5EF4-FFF2-40B4-BE49-F238E27FC236}">
                <a16:creationId xmlns:a16="http://schemas.microsoft.com/office/drawing/2014/main" id="{1EE69CA0-68EB-DF43-A6D8-C273184DF00F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92007" y="3431826"/>
            <a:ext cx="3809640" cy="2553049"/>
          </a:xfrm>
          <a:prstGeom prst="rect">
            <a:avLst/>
          </a:prstGeom>
        </p:spPr>
        <p:txBody>
          <a:bodyPr numCol="1" spcCol="540000"/>
          <a:lstStyle>
            <a:lvl1pPr marL="0" indent="0">
              <a:buClr>
                <a:schemeClr val="bg1"/>
              </a:buClr>
              <a:buSzPct val="100000"/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  <a:lvl2pPr marL="1066773" indent="-457189">
              <a:buClr>
                <a:schemeClr val="bg1"/>
              </a:buClr>
              <a:buFont typeface="Courier New" panose="02070309020205020404" pitchFamily="49" charset="0"/>
              <a:buChar char="o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676358" indent="-457189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D63F9E-CD59-B947-A81D-BB299F76DC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9307361" y="525790"/>
            <a:ext cx="4939393" cy="6858000"/>
          </a:xfrm>
          <a:prstGeom prst="rect">
            <a:avLst/>
          </a:prstGeom>
          <a:effectLst/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90A9D32-13DA-6340-BAC4-D473B4CE3B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6156" y="3840639"/>
            <a:ext cx="1243445" cy="2404317"/>
          </a:xfrm>
          <a:prstGeom prst="rect">
            <a:avLst/>
          </a:prstGeom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696EE07-91DE-D941-9218-3D324B36127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4901" y="2088732"/>
            <a:ext cx="1998958" cy="4075330"/>
          </a:xfrm>
          <a:prstGeom prst="rect">
            <a:avLst/>
          </a:prstGeom>
          <a:effectLst/>
        </p:spPr>
      </p:pic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A6B1A755-28F8-844C-A6F2-D3110FD7BB7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50861" y="4572000"/>
            <a:ext cx="750277" cy="9378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CDA5333-5FC8-2A4F-BA3B-36BB5190299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24050" y="2602523"/>
            <a:ext cx="1764972" cy="30753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203A237-B2D1-1E4C-88FE-A275052FE3A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56300" y="1983643"/>
            <a:ext cx="5236873" cy="394229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1800" b="0" i="0">
                <a:solidFill>
                  <a:schemeClr val="tx1"/>
                </a:solidFill>
                <a:latin typeface="Arial Regular"/>
              </a:defRPr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err="1"/>
              <a:t>Arrastra</a:t>
            </a:r>
            <a:r>
              <a:rPr lang="en-US" dirty="0"/>
              <a:t> </a:t>
            </a:r>
            <a:r>
              <a:rPr lang="en-US" dirty="0" err="1"/>
              <a:t>aquí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image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336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7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2800" b="0" i="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sz="half" idx="11"/>
          </p:nvPr>
        </p:nvSpPr>
        <p:spPr>
          <a:xfrm>
            <a:off x="1064834" y="1750900"/>
            <a:ext cx="9793666" cy="3394472"/>
          </a:xfrm>
          <a:prstGeom prst="rect">
            <a:avLst/>
          </a:prstGeom>
        </p:spPr>
        <p:txBody>
          <a:bodyPr/>
          <a:lstStyle>
            <a:lvl1pPr>
              <a:buClr>
                <a:schemeClr val="accent3"/>
              </a:buClr>
              <a:buSzPct val="130000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345655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- Cuadro de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sz="half" idx="11"/>
          </p:nvPr>
        </p:nvSpPr>
        <p:spPr>
          <a:xfrm>
            <a:off x="596819" y="1601870"/>
            <a:ext cx="10999373" cy="4525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667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endParaRPr lang="es-ES" dirty="0"/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383870" y="68458"/>
            <a:ext cx="11425269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lang="es-ES" altLang="es-ES" sz="3600" b="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  <p:sp>
        <p:nvSpPr>
          <p:cNvPr id="5" name="2 Marcador de texto"/>
          <p:cNvSpPr>
            <a:spLocks noGrp="1"/>
          </p:cNvSpPr>
          <p:nvPr>
            <p:ph type="body" idx="10"/>
          </p:nvPr>
        </p:nvSpPr>
        <p:spPr>
          <a:xfrm>
            <a:off x="431371" y="798389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4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 dirty="0">
                <a:sym typeface="Gill Sans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478890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3600" b="0" i="0" baseline="0">
                <a:solidFill>
                  <a:schemeClr val="bg1"/>
                </a:solidFill>
                <a:latin typeface="Arial Normal" charset="0"/>
                <a:ea typeface="Arial Normal" charset="0"/>
                <a:cs typeface="Arial Normal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73881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parador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72FF84-451D-AC45-96ED-442A8FC48561}"/>
              </a:ext>
            </a:extLst>
          </p:cNvPr>
          <p:cNvSpPr/>
          <p:nvPr userDrawn="1"/>
        </p:nvSpPr>
        <p:spPr>
          <a:xfrm>
            <a:off x="364067" y="6096000"/>
            <a:ext cx="11557000" cy="575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138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223935" y="5958766"/>
            <a:ext cx="5649816" cy="645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4524" tIns="67288" rIns="134524" bIns="67288" rtlCol="0" anchor="ctr"/>
          <a:lstStyle/>
          <a:p>
            <a:pPr algn="ctr"/>
            <a:endParaRPr lang="en-GB" sz="24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3104" y="452966"/>
            <a:ext cx="7776633" cy="4614335"/>
          </a:xfrm>
        </p:spPr>
        <p:txBody>
          <a:bodyPr/>
          <a:lstStyle>
            <a:lvl1pPr>
              <a:lnSpc>
                <a:spcPct val="85000"/>
              </a:lnSpc>
              <a:spcAft>
                <a:spcPts val="4776"/>
              </a:spcAft>
              <a:defRPr sz="8266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584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678337" y="452966"/>
            <a:ext cx="3069167" cy="4614335"/>
          </a:xfrm>
        </p:spPr>
        <p:txBody>
          <a:bodyPr tIns="121074"/>
          <a:lstStyle>
            <a:lvl1pPr>
              <a:spcAft>
                <a:spcPts val="3584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3584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Shape 65"/>
          <p:cNvSpPr txBox="1">
            <a:spLocks noGrp="1"/>
          </p:cNvSpPr>
          <p:nvPr>
            <p:ph type="dt" idx="10"/>
          </p:nvPr>
        </p:nvSpPr>
        <p:spPr>
          <a:xfrm>
            <a:off x="609600" y="6491711"/>
            <a:ext cx="2844800" cy="365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6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09585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21917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38339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47924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657509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267093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76678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s-ES_tradnl" kern="0" smtClean="0"/>
              <a:t>Orange</a:t>
            </a:r>
            <a:endParaRPr lang="es-ES_tradnl" kern="0"/>
          </a:p>
        </p:txBody>
      </p:sp>
      <p:sp>
        <p:nvSpPr>
          <p:cNvPr id="16" name="Shape 67"/>
          <p:cNvSpPr txBox="1">
            <a:spLocks noGrp="1"/>
          </p:cNvSpPr>
          <p:nvPr>
            <p:ph type="sldNum" idx="13"/>
          </p:nvPr>
        </p:nvSpPr>
        <p:spPr>
          <a:xfrm>
            <a:off x="8737600" y="6491711"/>
            <a:ext cx="2844800" cy="36509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r">
              <a:buSzPct val="25000"/>
            </a:pPr>
            <a:fld id="{5BE27134-8286-4CC7-9A0D-7343F74519AA}" type="slidenum">
              <a:rPr lang="es-ES" sz="16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Nº›</a:t>
            </a:fld>
            <a:endParaRPr lang="es-ES" sz="16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Shape 66"/>
          <p:cNvSpPr txBox="1">
            <a:spLocks noGrp="1"/>
          </p:cNvSpPr>
          <p:nvPr>
            <p:ph type="ftr" idx="14"/>
          </p:nvPr>
        </p:nvSpPr>
        <p:spPr>
          <a:xfrm>
            <a:off x="4165600" y="6491711"/>
            <a:ext cx="4618699" cy="3650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6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09585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21917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38339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47924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657509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267093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76678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s-ES_tradnl" kern="0" smtClean="0"/>
              <a:t>Premios Prevencionar 2018: Innovación Preventiva</a:t>
            </a:r>
            <a:endParaRPr lang="es-ES_tradnl" kern="0"/>
          </a:p>
        </p:txBody>
      </p:sp>
    </p:spTree>
    <p:extLst>
      <p:ext uri="{BB962C8B-B14F-4D97-AF65-F5344CB8AC3E}">
        <p14:creationId xmlns:p14="http://schemas.microsoft.com/office/powerpoint/2010/main" val="1910491767"/>
      </p:ext>
    </p:extLst>
  </p:cSld>
  <p:clrMapOvr>
    <a:masterClrMapping/>
  </p:clrMapOvr>
  <p:transition spd="med">
    <p:fade/>
  </p:transition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- En blanco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5853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 Marcador de contenido">
            <a:extLst>
              <a:ext uri="{FF2B5EF4-FFF2-40B4-BE49-F238E27FC236}">
                <a16:creationId xmlns:a16="http://schemas.microsoft.com/office/drawing/2014/main" id="{D9FD9376-2B5B-EB40-9E76-42BAB0805CB1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95776" y="3429000"/>
            <a:ext cx="7416800" cy="2634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Arial Regular"/>
                <a:ea typeface="Arial Regular"/>
                <a:cs typeface="Arial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D73E006-2F91-DB45-B90A-2D2D8871D4AD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79426" y="1881188"/>
            <a:ext cx="381635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BIENVENIDO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32216223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37228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DA262B91-861A-224F-923C-612E060240D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79426" y="1881188"/>
            <a:ext cx="3816350" cy="707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s-ES" altLang="es-ES" sz="3600" b="0" dirty="0"/>
              <a:t>BIENVENIDO</a:t>
            </a:r>
            <a:endParaRPr lang="en-US" sz="3600" b="0" dirty="0"/>
          </a:p>
        </p:txBody>
      </p:sp>
      <p:sp>
        <p:nvSpPr>
          <p:cNvPr id="9" name="2 Marcador de contenido">
            <a:extLst>
              <a:ext uri="{FF2B5EF4-FFF2-40B4-BE49-F238E27FC236}">
                <a16:creationId xmlns:a16="http://schemas.microsoft.com/office/drawing/2014/main" id="{E6301529-206A-C64C-912A-3330A33C19AE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295776" y="3429000"/>
            <a:ext cx="7416800" cy="26349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 Regular"/>
                <a:ea typeface="Arial Regular"/>
                <a:cs typeface="Arial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981863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972FF84-451D-AC45-96ED-442A8FC48561}"/>
              </a:ext>
            </a:extLst>
          </p:cNvPr>
          <p:cNvSpPr/>
          <p:nvPr userDrawn="1"/>
        </p:nvSpPr>
        <p:spPr>
          <a:xfrm>
            <a:off x="364067" y="6096000"/>
            <a:ext cx="11557000" cy="5757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871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1113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2 Marcador de contenido"/>
          <p:cNvSpPr>
            <a:spLocks noGrp="1"/>
          </p:cNvSpPr>
          <p:nvPr>
            <p:ph sz="half" idx="11"/>
          </p:nvPr>
        </p:nvSpPr>
        <p:spPr>
          <a:xfrm>
            <a:off x="431371" y="1563546"/>
            <a:ext cx="2661453" cy="4312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 Normal" charset="0"/>
                <a:ea typeface="Arial Normal" charset="0"/>
                <a:cs typeface="Arial Normal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3" name="1 Título"/>
          <p:cNvSpPr>
            <a:spLocks noGrp="1"/>
          </p:cNvSpPr>
          <p:nvPr>
            <p:ph type="title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3600" b="0" i="0" baseline="0">
                <a:solidFill>
                  <a:schemeClr val="tx1"/>
                </a:solidFill>
                <a:latin typeface="Arial Normal" charset="0"/>
                <a:ea typeface="Arial Normal" charset="0"/>
                <a:cs typeface="Arial Normal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24686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bg1">
                    <a:lumMod val="50000"/>
                  </a:schemeClr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bg1">
                  <a:lumMod val="50000"/>
                </a:schemeClr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11" name="CuadroTexto 10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3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5" name="CuadroTexto 14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0719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223935" y="5958766"/>
            <a:ext cx="5649816" cy="645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4524" tIns="67288" rIns="134524" bIns="67288" rtlCol="0" anchor="ctr"/>
          <a:lstStyle/>
          <a:p>
            <a:pPr algn="ctr"/>
            <a:endParaRPr lang="en-GB" sz="24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3104" y="452966"/>
            <a:ext cx="7776633" cy="4614335"/>
          </a:xfrm>
        </p:spPr>
        <p:txBody>
          <a:bodyPr/>
          <a:lstStyle>
            <a:lvl1pPr>
              <a:lnSpc>
                <a:spcPct val="85000"/>
              </a:lnSpc>
              <a:spcAft>
                <a:spcPts val="4776"/>
              </a:spcAft>
              <a:defRPr sz="8266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584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678337" y="452966"/>
            <a:ext cx="3069167" cy="4614335"/>
          </a:xfrm>
        </p:spPr>
        <p:txBody>
          <a:bodyPr tIns="121074"/>
          <a:lstStyle>
            <a:lvl1pPr>
              <a:spcAft>
                <a:spcPts val="3584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3584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13" name="CuadroTexto 12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3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5" name="CuadroTexto 14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768891"/>
      </p:ext>
    </p:extLst>
  </p:cSld>
  <p:clrMapOvr>
    <a:masterClrMapping/>
  </p:clrMapOvr>
  <p:transition spd="med">
    <p:fade/>
  </p:transition>
  <p:hf sldNum="0" hdr="0" ft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949B6AB-47F4-E640-9A49-6E3D216E8B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B338196-5621-CD42-88DE-DC5B5E0D0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E674885-9E74-ED4F-9022-AAC3B818FD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59B2FB2-C865-534E-B30C-3BA9EF668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920EBAF-3DF0-F440-9F3B-45EE2287E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68137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8F7C20-08AF-9746-BCF4-85EBF01F49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0E36419-8A91-EC45-A064-94F444103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932B3C0-D43D-134B-83D4-7EBAE340F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DD9C37E-7574-9046-86DE-5EF741DEA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2EC87C7-A3AD-0D45-BAED-872928478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981125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81B9E5-AAB8-8A49-85A5-778A6AE51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AA49FE45-892B-4B4C-8FAA-5FB5207B4A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276DA1F-CE26-A149-AF0A-595DA7A46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EB6ADD4-6356-4C4D-9A6D-A719E68D6A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D1A7D6F-3F5B-4C45-B39F-1FE2E5DBA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83280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- Título más subtítulo"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431371" y="-3381"/>
            <a:ext cx="10972800" cy="648072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defRPr sz="4267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  <p:sp>
        <p:nvSpPr>
          <p:cNvPr id="7" name="2 Marcador de texto"/>
          <p:cNvSpPr>
            <a:spLocks noGrp="1"/>
          </p:cNvSpPr>
          <p:nvPr>
            <p:ph type="body" idx="10"/>
          </p:nvPr>
        </p:nvSpPr>
        <p:spPr>
          <a:xfrm>
            <a:off x="1391479" y="644690"/>
            <a:ext cx="10047719" cy="639763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667" b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s-ES" altLang="es-ES" noProof="0">
                <a:sym typeface="Gill Sans" charset="0"/>
              </a:rPr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803168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CA9D25-84A5-584E-822E-8361F712E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383B584-795C-E046-8B70-A441CB85B1B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BCB6BEB1-A1DE-D746-A13F-63BBB3C03A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4653246-4B51-9240-891D-AB4F3E3517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F563E7D7-FD38-3B4C-9C5E-8487DDF86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B7DA19A-CBAF-8E4C-8722-8CA5F1B2E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37726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CFB8D82-991B-B54D-9D01-AB18B95E1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BF40AC7-73A8-354F-BFB9-2165C1E01C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A78BE69-C096-0948-9DA2-FD628512CA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D8F77E18-8030-7349-8860-A6FBB65CBC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77FFACDD-CF06-324F-A300-118BD864B79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C24BF3E-3B07-4B4A-8F0C-833DB4FD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AD06B32F-DCB2-DE4C-B552-ADDD0F89E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70F8E39D-96BC-4D47-924A-02CBDB4F2D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61891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FAA221E-34E1-4A43-BA6B-2CCA59962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41B223E-020A-BF40-8580-EBA688AD4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A63AB2B-CADF-7248-A788-A0C5F1484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A9E287A-866A-1C4B-BA93-CF9B214C5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42663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CB609DC-C44D-034D-8339-61F8B2DB1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25E2344E-EE11-C647-82E7-34DE5756A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884FB738-98A6-FB4E-AA10-00A6E0ADAA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595393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BE250B-6002-9F48-A757-387EE1B7D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1A1E8E2-7057-C94C-83CD-E81537D607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7637B48-119C-EC45-8CBF-D14F99DAE5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6132918-A600-2F4D-93BA-572EDF5C5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8AB5D67-AC3B-9846-A503-BF1147D06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1268D65-BAAC-3C49-92E7-C0FE1477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58698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BF5EF2E-9737-964F-93C8-8935F1EA2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ED7CCBC-6E67-B94D-8432-F7ACFA53AA9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F1DC3F-EEA8-F94B-9AAC-E899E6711F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6A89188-79C9-9747-9BAA-E2F6D65F7F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3B395F56-C7EA-1345-B386-2EEB8BE70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7991C82-3230-6E45-8708-317ED0C82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708093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37F739-CD97-FB4E-8D57-2F06A4A2F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2B1307F-2AE4-3849-BAB9-A36DF17496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0E7C051-D6C8-0D4B-9E4F-1ABCF1060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A7E15E3-91D8-1D49-BBC5-4982B1870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D55FE9C-EE44-064F-BEB7-E2E2E4EED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91124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9B6A4B7E-2E3D-6D4A-89C1-02C7980BDD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7C7D7C3-F671-0343-AAE9-CE2E724617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BC26CFD-35C2-474A-97F9-47B12DF6A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0D0DB6-5B61-804C-B51B-8869AD270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795AB9A-D45B-7F4D-883A-23E200ABB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81663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rmativa de segurid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0995216B-3EE0-7A45-8B03-B7223D9B910A}"/>
              </a:ext>
            </a:extLst>
          </p:cNvPr>
          <p:cNvSpPr txBox="1"/>
          <p:nvPr userDrawn="1"/>
        </p:nvSpPr>
        <p:spPr bwMode="auto">
          <a:xfrm>
            <a:off x="371848" y="428842"/>
            <a:ext cx="75243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defTabSz="914400" eaLnBrk="1" hangingPunct="1">
              <a:defRPr/>
            </a:pPr>
            <a:r>
              <a:rPr lang="es-ES" sz="3600" b="0" i="0" dirty="0">
                <a:solidFill>
                  <a:schemeClr val="tx1"/>
                </a:solidFill>
                <a:latin typeface="Arial Regular"/>
                <a:cs typeface="Calibri" pitchFamily="34" charset="0"/>
              </a:rPr>
              <a:t>AVISO</a:t>
            </a:r>
            <a:endParaRPr lang="en-US" sz="3600" b="0" i="0" dirty="0">
              <a:solidFill>
                <a:schemeClr val="tx1"/>
              </a:solidFill>
              <a:latin typeface="Arial Regular"/>
              <a:cs typeface="Calibri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150C4EC-FAD1-0348-9A37-345987AB2065}"/>
              </a:ext>
            </a:extLst>
          </p:cNvPr>
          <p:cNvSpPr/>
          <p:nvPr userDrawn="1"/>
        </p:nvSpPr>
        <p:spPr>
          <a:xfrm>
            <a:off x="9321800" y="101073"/>
            <a:ext cx="2492612" cy="283104"/>
          </a:xfrm>
          <a:prstGeom prst="rect">
            <a:avLst/>
          </a:prstGeom>
          <a:noFill/>
          <a:ln w="1270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17" name="TextBox 1">
            <a:extLst>
              <a:ext uri="{FF2B5EF4-FFF2-40B4-BE49-F238E27FC236}">
                <a16:creationId xmlns:a16="http://schemas.microsoft.com/office/drawing/2014/main" id="{9C6F0857-EF9D-46C0-9495-C60FC2F2A37D}"/>
              </a:ext>
            </a:extLst>
          </p:cNvPr>
          <p:cNvSpPr txBox="1"/>
          <p:nvPr userDrawn="1"/>
        </p:nvSpPr>
        <p:spPr bwMode="auto">
          <a:xfrm>
            <a:off x="3400705" y="1988908"/>
            <a:ext cx="2517958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:</a:t>
            </a:r>
            <a:b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sz="14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defecto la información que manejamos como empleados es de uso interno, debe mantenerse en el ámbito interno de la empresa salvo que se comparta con proveedores o </a:t>
            </a:r>
            <a:r>
              <a:rPr lang="es-ES" sz="1400" b="0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</a:t>
            </a:r>
            <a:r>
              <a:rPr lang="es-ES" sz="14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evio compromiso de confidencialidad. </a:t>
            </a:r>
            <a:r>
              <a:rPr lang="es-ES" sz="14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s-ES" sz="14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s-ES" sz="1400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2">
            <a:extLst>
              <a:ext uri="{FF2B5EF4-FFF2-40B4-BE49-F238E27FC236}">
                <a16:creationId xmlns:a16="http://schemas.microsoft.com/office/drawing/2014/main" id="{9BF48C2A-9209-410C-9D8A-F97EA1EE27A5}"/>
              </a:ext>
            </a:extLst>
          </p:cNvPr>
          <p:cNvSpPr txBox="1"/>
          <p:nvPr userDrawn="1"/>
        </p:nvSpPr>
        <p:spPr bwMode="auto">
          <a:xfrm>
            <a:off x="371848" y="1075173"/>
            <a:ext cx="75243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defTabSz="914400" eaLnBrk="1" hangingPunct="1">
              <a:defRPr/>
            </a:pPr>
            <a:r>
              <a:rPr lang="es-ES" altLang="es-ES" sz="1600" b="0" i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razones de seguridad y protección de nuestra información corporativa es OBLIGATORIO clasificar los documentos en:</a:t>
            </a: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FB6852C-272A-4EA1-9C7D-975358F95FBA}"/>
              </a:ext>
            </a:extLst>
          </p:cNvPr>
          <p:cNvSpPr txBox="1"/>
          <p:nvPr userDrawn="1"/>
        </p:nvSpPr>
        <p:spPr bwMode="auto">
          <a:xfrm>
            <a:off x="6272106" y="1988909"/>
            <a:ext cx="2489510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 RESTRINGIDO:</a:t>
            </a:r>
            <a:b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sz="14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 sensible que NO puede ser accesible por toda la empresa, sino sólo por un departamento concreto, un comité o los miembros de un proyecto. </a:t>
            </a:r>
          </a:p>
        </p:txBody>
      </p:sp>
      <p:sp>
        <p:nvSpPr>
          <p:cNvPr id="20" name="TextBox 12">
            <a:extLst>
              <a:ext uri="{FF2B5EF4-FFF2-40B4-BE49-F238E27FC236}">
                <a16:creationId xmlns:a16="http://schemas.microsoft.com/office/drawing/2014/main" id="{8D71997B-5A2B-4F5A-8052-4412879B5676}"/>
              </a:ext>
            </a:extLst>
          </p:cNvPr>
          <p:cNvSpPr txBox="1"/>
          <p:nvPr userDrawn="1"/>
        </p:nvSpPr>
        <p:spPr bwMode="auto">
          <a:xfrm>
            <a:off x="9135194" y="2010816"/>
            <a:ext cx="2472578" cy="2092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>
              <a:buFontTx/>
              <a:buNone/>
            </a:pP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INTERNO RESERVADO:</a:t>
            </a:r>
            <a:b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sz="14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 muy sensible (estrategia, datos financieros, oportunidades de negocio…) que únicamente es accesible por personas designadas nominalmente.</a:t>
            </a:r>
            <a:endParaRPr lang="en-US" sz="1400" b="0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D41583D3-51C4-4C91-AD3F-C373237B80F3}"/>
              </a:ext>
            </a:extLst>
          </p:cNvPr>
          <p:cNvSpPr txBox="1"/>
          <p:nvPr userDrawn="1"/>
        </p:nvSpPr>
        <p:spPr bwMode="auto">
          <a:xfrm>
            <a:off x="353063" y="4713316"/>
            <a:ext cx="11097947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favor, rellene el uso que considere en el espacio reservado dentro de la presentación como</a:t>
            </a:r>
            <a:r>
              <a:rPr lang="es-ES" sz="16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600" b="1" i="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inserte tipo uso seguridad”</a:t>
            </a:r>
            <a:r>
              <a:rPr lang="es-ES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bicado en la parte superior derecha de la diapositiva.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1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s las diapositivas deberán de ir clasificadas </a:t>
            </a:r>
            <a:r>
              <a:rPr lang="es-ES" sz="1600" b="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ida la portada, índices, etc.</a:t>
            </a:r>
          </a:p>
        </p:txBody>
      </p:sp>
      <p:grpSp>
        <p:nvGrpSpPr>
          <p:cNvPr id="22" name="Group 24">
            <a:extLst>
              <a:ext uri="{FF2B5EF4-FFF2-40B4-BE49-F238E27FC236}">
                <a16:creationId xmlns:a16="http://schemas.microsoft.com/office/drawing/2014/main" id="{054FF8C8-8D92-4A84-89BD-B46756A2B59D}"/>
              </a:ext>
            </a:extLst>
          </p:cNvPr>
          <p:cNvGrpSpPr/>
          <p:nvPr userDrawn="1"/>
        </p:nvGrpSpPr>
        <p:grpSpPr>
          <a:xfrm>
            <a:off x="10814858" y="250209"/>
            <a:ext cx="1133302" cy="4670926"/>
            <a:chOff x="10814858" y="250209"/>
            <a:chExt cx="1133302" cy="4086661"/>
          </a:xfrm>
        </p:grpSpPr>
        <p:cxnSp>
          <p:nvCxnSpPr>
            <p:cNvPr id="24" name="Straight Connector 5">
              <a:extLst>
                <a:ext uri="{FF2B5EF4-FFF2-40B4-BE49-F238E27FC236}">
                  <a16:creationId xmlns:a16="http://schemas.microsoft.com/office/drawing/2014/main" id="{4FB4FF4B-A803-4211-A81B-2595DEBC951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814858" y="4336869"/>
              <a:ext cx="1133302" cy="0"/>
            </a:xfrm>
            <a:prstGeom prst="line">
              <a:avLst/>
            </a:prstGeom>
            <a:ln w="127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8">
              <a:extLst>
                <a:ext uri="{FF2B5EF4-FFF2-40B4-BE49-F238E27FC236}">
                  <a16:creationId xmlns:a16="http://schemas.microsoft.com/office/drawing/2014/main" id="{D4E7D5E7-1EF6-4C7F-AE4B-BA88D31B37D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948160" y="250209"/>
              <a:ext cx="0" cy="4086661"/>
            </a:xfrm>
            <a:prstGeom prst="line">
              <a:avLst/>
            </a:prstGeom>
            <a:ln w="127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2">
              <a:extLst>
                <a:ext uri="{FF2B5EF4-FFF2-40B4-BE49-F238E27FC236}">
                  <a16:creationId xmlns:a16="http://schemas.microsoft.com/office/drawing/2014/main" id="{EF099E16-ADF4-4B4A-A119-E2B7D9569BFA}"/>
                </a:ext>
              </a:extLst>
            </p:cNvPr>
            <p:cNvCxnSpPr/>
            <p:nvPr userDrawn="1"/>
          </p:nvCxnSpPr>
          <p:spPr>
            <a:xfrm>
              <a:off x="11814412" y="250209"/>
              <a:ext cx="133748" cy="0"/>
            </a:xfrm>
            <a:prstGeom prst="line">
              <a:avLst/>
            </a:prstGeom>
            <a:ln w="127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13">
            <a:extLst>
              <a:ext uri="{FF2B5EF4-FFF2-40B4-BE49-F238E27FC236}">
                <a16:creationId xmlns:a16="http://schemas.microsoft.com/office/drawing/2014/main" id="{34C66112-8F2A-42FD-B8DF-3CDDBC7EFC19}"/>
              </a:ext>
            </a:extLst>
          </p:cNvPr>
          <p:cNvSpPr/>
          <p:nvPr userDrawn="1"/>
        </p:nvSpPr>
        <p:spPr>
          <a:xfrm>
            <a:off x="479426" y="1869844"/>
            <a:ext cx="2622362" cy="2492985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30" name="Rectangle 13">
            <a:extLst>
              <a:ext uri="{FF2B5EF4-FFF2-40B4-BE49-F238E27FC236}">
                <a16:creationId xmlns:a16="http://schemas.microsoft.com/office/drawing/2014/main" id="{656BA5ED-D18B-4876-A759-0ADB77449FDD}"/>
              </a:ext>
            </a:extLst>
          </p:cNvPr>
          <p:cNvSpPr/>
          <p:nvPr userDrawn="1"/>
        </p:nvSpPr>
        <p:spPr>
          <a:xfrm>
            <a:off x="3350827" y="1869844"/>
            <a:ext cx="2622362" cy="2492990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31" name="Rectangle 13">
            <a:extLst>
              <a:ext uri="{FF2B5EF4-FFF2-40B4-BE49-F238E27FC236}">
                <a16:creationId xmlns:a16="http://schemas.microsoft.com/office/drawing/2014/main" id="{5B2A6CDF-B294-422E-9BCE-809EF2B2E204}"/>
              </a:ext>
            </a:extLst>
          </p:cNvPr>
          <p:cNvSpPr/>
          <p:nvPr userDrawn="1"/>
        </p:nvSpPr>
        <p:spPr>
          <a:xfrm>
            <a:off x="6222228" y="1869842"/>
            <a:ext cx="2622362" cy="2492991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E4541505-C6E0-4A18-B2D8-81C2047D106F}"/>
              </a:ext>
            </a:extLst>
          </p:cNvPr>
          <p:cNvSpPr/>
          <p:nvPr userDrawn="1"/>
        </p:nvSpPr>
        <p:spPr>
          <a:xfrm>
            <a:off x="9085194" y="1869843"/>
            <a:ext cx="2622362" cy="2492986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Arial Regular"/>
            </a:endParaRPr>
          </a:p>
        </p:txBody>
      </p:sp>
      <p:sp>
        <p:nvSpPr>
          <p:cNvPr id="33" name="TextBox 1">
            <a:extLst>
              <a:ext uri="{FF2B5EF4-FFF2-40B4-BE49-F238E27FC236}">
                <a16:creationId xmlns:a16="http://schemas.microsoft.com/office/drawing/2014/main" id="{D4F1A458-F0FB-42C7-98D9-894064B2DB4A}"/>
              </a:ext>
            </a:extLst>
          </p:cNvPr>
          <p:cNvSpPr txBox="1"/>
          <p:nvPr userDrawn="1"/>
        </p:nvSpPr>
        <p:spPr bwMode="auto">
          <a:xfrm>
            <a:off x="541129" y="1988908"/>
            <a:ext cx="2517958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4000" numCol="1" spcCol="360000" rtlCol="0">
            <a:spAutoFit/>
          </a:bodyPr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O PÚBLICO:</a:t>
            </a:r>
            <a:br>
              <a:rPr lang="es-ES" sz="16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sz="14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 cuya divulgación no afecte a la empresa en términos de pérdida de imagen.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s-ES" sz="1400" b="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60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 Marcador de contenido"/>
          <p:cNvSpPr>
            <a:spLocks noGrp="1"/>
          </p:cNvSpPr>
          <p:nvPr>
            <p:ph sz="half" idx="11"/>
          </p:nvPr>
        </p:nvSpPr>
        <p:spPr>
          <a:xfrm>
            <a:off x="431371" y="1563546"/>
            <a:ext cx="11455829" cy="43125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 Regular"/>
                <a:ea typeface="Arial Regular"/>
                <a:cs typeface="Arial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dirty="0"/>
              <a:t>Haga clic para modificar el estilo de texto del patrón</a:t>
            </a:r>
          </a:p>
        </p:txBody>
      </p:sp>
      <p:sp>
        <p:nvSpPr>
          <p:cNvPr id="10" name="1 Título"/>
          <p:cNvSpPr>
            <a:spLocks noGrp="1"/>
          </p:cNvSpPr>
          <p:nvPr>
            <p:ph type="title"/>
          </p:nvPr>
        </p:nvSpPr>
        <p:spPr>
          <a:xfrm>
            <a:off x="418307" y="303199"/>
            <a:ext cx="11468893" cy="83602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defRPr sz="3600" b="0" i="0" baseline="0">
                <a:solidFill>
                  <a:schemeClr val="tx1"/>
                </a:solidFill>
                <a:latin typeface="Arial Regular"/>
                <a:ea typeface="Arial Regular"/>
                <a:cs typeface="Arial" charset="0"/>
              </a:defRPr>
            </a:lvl1pPr>
          </a:lstStyle>
          <a:p>
            <a:r>
              <a:rPr lang="es-ES" altLang="es-ES" dirty="0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77926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image" Target="../media/image2.png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slideLayout" Target="../slideLayouts/slideLayout48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9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 bwMode="auto">
          <a:xfrm>
            <a:off x="1274918" y="1537516"/>
            <a:ext cx="2462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 dirty="0" err="1">
              <a:solidFill>
                <a:srgbClr val="FFFFFF"/>
              </a:solidFill>
              <a:latin typeface="Calibri" pitchFamily="34" charset="0"/>
              <a:ea typeface="ヒラギノ角ゴ ProN W3" charset="-128"/>
              <a:cs typeface="Calibri" pitchFamily="34" charset="0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874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837" r:id="rId2"/>
    <p:sldLayoutId id="2147483724" r:id="rId3"/>
    <p:sldLayoutId id="2147483848" r:id="rId4"/>
    <p:sldLayoutId id="2147483856" r:id="rId5"/>
    <p:sldLayoutId id="2147483858" r:id="rId6"/>
    <p:sldLayoutId id="2147483859" r:id="rId7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378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10" userDrawn="1">
          <p15:clr>
            <a:srgbClr val="A4A3A4"/>
          </p15:clr>
        </p15:guide>
        <p15:guide id="5" pos="2683" userDrawn="1">
          <p15:clr>
            <a:srgbClr val="A4A3A4"/>
          </p15:clr>
        </p15:guide>
        <p15:guide id="6" pos="4974" userDrawn="1">
          <p15:clr>
            <a:srgbClr val="A4A3A4"/>
          </p15:clr>
        </p15:guide>
        <p15:guide id="7" orient="horz" pos="1185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313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 bwMode="auto">
          <a:xfrm>
            <a:off x="1274918" y="1537516"/>
            <a:ext cx="2462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 dirty="0" err="1">
              <a:solidFill>
                <a:srgbClr val="FFFFFF"/>
              </a:solidFill>
              <a:latin typeface="Calibri" pitchFamily="34" charset="0"/>
              <a:ea typeface="ヒラギノ角ゴ ProN W3" charset="-128"/>
              <a:cs typeface="Calibri" pitchFamily="34" charset="0"/>
              <a:sym typeface="Gill Sans" charset="0"/>
            </a:endParaRP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10" name="CuadroTexto 9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55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2" name="CuadroTexto 11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166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703" r:id="rId2"/>
    <p:sldLayoutId id="2147483709" r:id="rId3"/>
    <p:sldLayoutId id="2147483765" r:id="rId4"/>
    <p:sldLayoutId id="2147483753" r:id="rId5"/>
    <p:sldLayoutId id="2147483796" r:id="rId6"/>
    <p:sldLayoutId id="2147483793" r:id="rId7"/>
    <p:sldLayoutId id="2147483795" r:id="rId8"/>
    <p:sldLayoutId id="2147483794" r:id="rId9"/>
    <p:sldLayoutId id="2147483760" r:id="rId10"/>
    <p:sldLayoutId id="2147483754" r:id="rId11"/>
    <p:sldLayoutId id="2147483816" r:id="rId12"/>
    <p:sldLayoutId id="2147483817" r:id="rId13"/>
    <p:sldLayoutId id="2147483818" r:id="rId14"/>
    <p:sldLayoutId id="2147483786" r:id="rId15"/>
    <p:sldLayoutId id="2147483787" r:id="rId16"/>
    <p:sldLayoutId id="2147483788" r:id="rId17"/>
    <p:sldLayoutId id="2147483789" r:id="rId18"/>
    <p:sldLayoutId id="2147483782" r:id="rId19"/>
    <p:sldLayoutId id="2147483783" r:id="rId20"/>
    <p:sldLayoutId id="2147483784" r:id="rId21"/>
    <p:sldLayoutId id="2147483785" r:id="rId22"/>
    <p:sldLayoutId id="2147483797" r:id="rId23"/>
    <p:sldLayoutId id="2147483798" r:id="rId24"/>
    <p:sldLayoutId id="2147483799" r:id="rId25"/>
    <p:sldLayoutId id="2147483800" r:id="rId26"/>
    <p:sldLayoutId id="2147483801" r:id="rId27"/>
    <p:sldLayoutId id="2147483802" r:id="rId28"/>
    <p:sldLayoutId id="2147483803" r:id="rId29"/>
    <p:sldLayoutId id="2147483804" r:id="rId30"/>
    <p:sldLayoutId id="2147483805" r:id="rId31"/>
    <p:sldLayoutId id="2147483806" r:id="rId32"/>
    <p:sldLayoutId id="2147483791" r:id="rId33"/>
    <p:sldLayoutId id="2147483792" r:id="rId34"/>
    <p:sldLayoutId id="2147483790" r:id="rId35"/>
    <p:sldLayoutId id="2147483819" r:id="rId36"/>
    <p:sldLayoutId id="2147483820" r:id="rId37"/>
    <p:sldLayoutId id="2147483821" r:id="rId38"/>
    <p:sldLayoutId id="2147483822" r:id="rId39"/>
    <p:sldLayoutId id="2147483823" r:id="rId40"/>
    <p:sldLayoutId id="2147483824" r:id="rId41"/>
    <p:sldLayoutId id="2147483831" r:id="rId42"/>
    <p:sldLayoutId id="2147483832" r:id="rId43"/>
    <p:sldLayoutId id="2147483833" r:id="rId44"/>
    <p:sldLayoutId id="2147483834" r:id="rId45"/>
    <p:sldLayoutId id="2147483835" r:id="rId46"/>
    <p:sldLayoutId id="2147483836" r:id="rId47"/>
    <p:sldLayoutId id="2147483840" r:id="rId48"/>
    <p:sldLayoutId id="2147483841" r:id="rId49"/>
    <p:sldLayoutId id="2147483857" r:id="rId50"/>
    <p:sldLayoutId id="2147483861" r:id="rId51"/>
    <p:sldLayoutId id="2147483862" r:id="rId5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378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4110" userDrawn="1">
          <p15:clr>
            <a:srgbClr val="A4A3A4"/>
          </p15:clr>
        </p15:guide>
        <p15:guide id="5" pos="2706" userDrawn="1">
          <p15:clr>
            <a:srgbClr val="A4A3A4"/>
          </p15:clr>
        </p15:guide>
        <p15:guide id="7" orient="horz" pos="1185" userDrawn="1">
          <p15:clr>
            <a:srgbClr val="A4A3A4"/>
          </p15:clr>
        </p15:guide>
        <p15:guide id="8" orient="horz" pos="2160" userDrawn="1">
          <p15:clr>
            <a:srgbClr val="A4A3A4"/>
          </p15:clr>
        </p15:guide>
        <p15:guide id="9" orient="horz" pos="3135" userDrawn="1">
          <p15:clr>
            <a:srgbClr val="A4A3A4"/>
          </p15:clr>
        </p15:guide>
        <p15:guide id="10" pos="4974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 bwMode="auto">
          <a:xfrm>
            <a:off x="1274918" y="1537516"/>
            <a:ext cx="24622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21917" tIns="60958" rIns="121917" bIns="60958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s-ES_tradnl" sz="2400" dirty="0" err="1">
              <a:solidFill>
                <a:srgbClr val="FFFFFF"/>
              </a:solidFill>
              <a:latin typeface="Calibri" pitchFamily="34" charset="0"/>
              <a:ea typeface="ヒラギノ角ゴ ProN W3" charset="-128"/>
              <a:cs typeface="Calibri" pitchFamily="34" charset="0"/>
              <a:sym typeface="Gill Sans" charset="0"/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FFE8FC85-B938-CE4F-86A4-A8DD44DEAEA9}"/>
              </a:ext>
            </a:extLst>
          </p:cNvPr>
          <p:cNvSpPr txBox="1">
            <a:spLocks/>
          </p:cNvSpPr>
          <p:nvPr userDrawn="1"/>
        </p:nvSpPr>
        <p:spPr>
          <a:xfrm>
            <a:off x="4295775" y="3429000"/>
            <a:ext cx="6527117" cy="2555875"/>
          </a:xfrm>
          <a:prstGeom prst="rect">
            <a:avLst/>
          </a:prstGeom>
        </p:spPr>
        <p:txBody>
          <a:bodyPr numCol="1"/>
          <a:lstStyle>
            <a:lvl1pPr marL="457189" indent="-457189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3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None/>
            </a:pPr>
            <a:endParaRPr lang="en-US" sz="1800" b="0" i="0" dirty="0">
              <a:solidFill>
                <a:schemeClr val="bg1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5125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51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A4A3A4"/>
          </p15:clr>
        </p15:guide>
        <p15:guide id="2" pos="7378">
          <p15:clr>
            <a:srgbClr val="A4A3A4"/>
          </p15:clr>
        </p15:guide>
        <p15:guide id="3" orient="horz" pos="210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706">
          <p15:clr>
            <a:srgbClr val="A4A3A4"/>
          </p15:clr>
        </p15:guide>
        <p15:guide id="7" orient="horz" pos="1185">
          <p15:clr>
            <a:srgbClr val="A4A3A4"/>
          </p15:clr>
        </p15:guide>
        <p15:guide id="8" orient="horz" pos="2160">
          <p15:clr>
            <a:srgbClr val="A4A3A4"/>
          </p15:clr>
        </p15:guide>
        <p15:guide id="9" orient="horz" pos="3135">
          <p15:clr>
            <a:srgbClr val="A4A3A4"/>
          </p15:clr>
        </p15:guide>
        <p15:guide id="10" pos="4974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8CD84757-F4B3-1B43-917F-434EEC2AF445}"/>
              </a:ext>
            </a:extLst>
          </p:cNvPr>
          <p:cNvSpPr>
            <a:spLocks/>
          </p:cNvSpPr>
          <p:nvPr userDrawn="1"/>
        </p:nvSpPr>
        <p:spPr bwMode="auto">
          <a:xfrm>
            <a:off x="11647436" y="6517445"/>
            <a:ext cx="174728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>
              <a:defRPr/>
            </a:pPr>
            <a:fld id="{4C133B8C-2B4F-45CB-BBA4-156FF8F44E6A}" type="slidenum">
              <a:rPr lang="es-ES_tradnl" altLang="es-ES" sz="1100" b="0" i="0" smtClean="0">
                <a:solidFill>
                  <a:schemeClr val="tx1"/>
                </a:solidFill>
                <a:latin typeface="Arial Regular"/>
                <a:ea typeface="Arial" charset="0"/>
                <a:cs typeface="Arial" charset="0"/>
                <a:sym typeface="Arial" pitchFamily="34" charset="0"/>
              </a:rPr>
              <a:pPr eaLnBrk="1" hangingPunct="1">
                <a:defRPr/>
              </a:pPr>
              <a:t>‹Nº›</a:t>
            </a:fld>
            <a:endParaRPr lang="es-ES_tradnl" altLang="es-ES" sz="1100" b="0" i="0" dirty="0">
              <a:solidFill>
                <a:schemeClr val="tx1"/>
              </a:solidFill>
              <a:latin typeface="Arial Regular"/>
              <a:ea typeface="Arial" charset="0"/>
              <a:cs typeface="Arial" charset="0"/>
              <a:sym typeface="Arial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399" y="6554282"/>
            <a:ext cx="918237" cy="142775"/>
          </a:xfrm>
          <a:prstGeom prst="rect">
            <a:avLst/>
          </a:prstGeom>
        </p:spPr>
      </p:pic>
      <p:sp>
        <p:nvSpPr>
          <p:cNvPr id="8" name="CuadroTexto 7"/>
          <p:cNvSpPr txBox="1"/>
          <p:nvPr userDrawn="1"/>
        </p:nvSpPr>
        <p:spPr bwMode="auto">
          <a:xfrm>
            <a:off x="6521450" y="6505725"/>
            <a:ext cx="1822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cuentro 20 abril 2021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 rotWithShape="1">
          <a:blip r:embed="rId5"/>
          <a:srcRect l="7339" t="21363" r="7034" b="22279"/>
          <a:stretch/>
        </p:blipFill>
        <p:spPr>
          <a:xfrm>
            <a:off x="8245475" y="6460145"/>
            <a:ext cx="881114" cy="387061"/>
          </a:xfrm>
          <a:prstGeom prst="rect">
            <a:avLst/>
          </a:prstGeom>
        </p:spPr>
      </p:pic>
      <p:sp>
        <p:nvSpPr>
          <p:cNvPr id="10" name="CuadroTexto 9"/>
          <p:cNvSpPr txBox="1"/>
          <p:nvPr userDrawn="1"/>
        </p:nvSpPr>
        <p:spPr bwMode="auto">
          <a:xfrm>
            <a:off x="8772525" y="6533336"/>
            <a:ext cx="1294874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l" eaLnBrk="1" hangingPunct="1"/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-</a:t>
            </a:r>
            <a:r>
              <a:rPr lang="es-ES" sz="12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S" sz="12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rupo Trabajo PRL</a:t>
            </a:r>
            <a:endParaRPr lang="es-ES" sz="1200" b="1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890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52" r:id="rId2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A4A3A4"/>
          </p15:clr>
        </p15:guide>
        <p15:guide id="2" pos="7378">
          <p15:clr>
            <a:srgbClr val="A4A3A4"/>
          </p15:clr>
        </p15:guide>
        <p15:guide id="3" orient="horz" pos="210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706">
          <p15:clr>
            <a:srgbClr val="A4A3A4"/>
          </p15:clr>
        </p15:guide>
        <p15:guide id="7" orient="horz" pos="1185">
          <p15:clr>
            <a:srgbClr val="A4A3A4"/>
          </p15:clr>
        </p15:guide>
        <p15:guide id="8" orient="horz" pos="2160">
          <p15:clr>
            <a:srgbClr val="A4A3A4"/>
          </p15:clr>
        </p15:guide>
        <p15:guide id="9" orient="horz" pos="3135">
          <p15:clr>
            <a:srgbClr val="A4A3A4"/>
          </p15:clr>
        </p15:guide>
        <p15:guide id="10" pos="4974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3CC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223" y="3116530"/>
            <a:ext cx="3241413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156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54" r:id="rId2"/>
  </p:sldLayoutIdLst>
  <p:txStyles>
    <p:titleStyle>
      <a:lvl1pPr algn="ctr" defTabSz="609585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itchFamily="34" charset="-128"/>
          <a:cs typeface="ＭＳ Ｐゴシック" charset="0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356659"/>
            <a:ext cx="11353800" cy="9916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579034"/>
            <a:ext cx="11353800" cy="44873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19100" y="6047314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fr-FR" sz="1067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7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º›</a:t>
            </a:fld>
            <a:endParaRPr kumimoji="0" lang="fr-FR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6349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1219170" rtl="0" eaLnBrk="1" latinLnBrk="0" hangingPunct="1">
        <a:lnSpc>
          <a:spcPct val="90000"/>
        </a:lnSpc>
        <a:spcBef>
          <a:spcPct val="0"/>
        </a:spcBef>
        <a:buNone/>
        <a:defRPr sz="2667" kern="1200" spc="-27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67" kern="1200" spc="-27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241294" indent="-241294" algn="l" defTabSz="1219170" rtl="0" eaLnBrk="1" latinLnBrk="0" hangingPunct="1">
        <a:lnSpc>
          <a:spcPct val="9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§"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543970" indent="-253994" algn="l" defTabSz="121917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793731" indent="-230712" algn="l" defTabSz="121917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1066773" indent="-253994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A76343C-93D7-8244-B238-90264A396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3C0006A8-B6F5-454B-9F2C-815882E0F7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0D5A32E-F740-F840-B391-86ECCBE884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F0EF28-9BBF-7F45-B561-60649DF4C8FC}" type="datetimeFigureOut">
              <a:rPr lang="es-ES" smtClean="0"/>
              <a:t>19/04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C644721-3BB6-5A40-B0C5-0CBDF04BD9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582BEC3-C05F-1348-92F9-2BFD3801E2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7D9808-0FFB-CF43-90CD-A7CD05F36DF8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9947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17.png"/><Relationship Id="rId26" Type="http://schemas.openxmlformats.org/officeDocument/2006/relationships/image" Target="../media/image25.png"/><Relationship Id="rId39" Type="http://schemas.openxmlformats.org/officeDocument/2006/relationships/image" Target="../media/image38.gif"/><Relationship Id="rId21" Type="http://schemas.openxmlformats.org/officeDocument/2006/relationships/image" Target="../media/image20.png"/><Relationship Id="rId34" Type="http://schemas.openxmlformats.org/officeDocument/2006/relationships/image" Target="../media/image33.jpeg"/><Relationship Id="rId42" Type="http://schemas.openxmlformats.org/officeDocument/2006/relationships/image" Target="../media/image41.png"/><Relationship Id="rId47" Type="http://schemas.openxmlformats.org/officeDocument/2006/relationships/image" Target="../media/image46.png"/><Relationship Id="rId50" Type="http://schemas.openxmlformats.org/officeDocument/2006/relationships/image" Target="../media/image49.jpeg"/><Relationship Id="rId55" Type="http://schemas.openxmlformats.org/officeDocument/2006/relationships/image" Target="../media/image1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6.png"/><Relationship Id="rId25" Type="http://schemas.openxmlformats.org/officeDocument/2006/relationships/image" Target="../media/image24.jpeg"/><Relationship Id="rId33" Type="http://schemas.openxmlformats.org/officeDocument/2006/relationships/image" Target="../media/image32.png"/><Relationship Id="rId38" Type="http://schemas.openxmlformats.org/officeDocument/2006/relationships/image" Target="../media/image37.jpeg"/><Relationship Id="rId46" Type="http://schemas.openxmlformats.org/officeDocument/2006/relationships/image" Target="../media/image45.jpeg"/><Relationship Id="rId2" Type="http://schemas.openxmlformats.org/officeDocument/2006/relationships/tags" Target="../tags/tag2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29" Type="http://schemas.openxmlformats.org/officeDocument/2006/relationships/image" Target="../media/image28.png"/><Relationship Id="rId41" Type="http://schemas.openxmlformats.org/officeDocument/2006/relationships/image" Target="../media/image40.png"/><Relationship Id="rId54" Type="http://schemas.openxmlformats.org/officeDocument/2006/relationships/image" Target="../media/image5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3.png"/><Relationship Id="rId32" Type="http://schemas.openxmlformats.org/officeDocument/2006/relationships/image" Target="../media/image31.png"/><Relationship Id="rId37" Type="http://schemas.openxmlformats.org/officeDocument/2006/relationships/image" Target="../media/image36.png"/><Relationship Id="rId40" Type="http://schemas.openxmlformats.org/officeDocument/2006/relationships/image" Target="../media/image39.png"/><Relationship Id="rId45" Type="http://schemas.openxmlformats.org/officeDocument/2006/relationships/image" Target="../media/image44.png"/><Relationship Id="rId53" Type="http://schemas.openxmlformats.org/officeDocument/2006/relationships/image" Target="../media/image52.png"/><Relationship Id="rId5" Type="http://schemas.openxmlformats.org/officeDocument/2006/relationships/tags" Target="../tags/tag5.xml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28" Type="http://schemas.openxmlformats.org/officeDocument/2006/relationships/image" Target="../media/image27.jpeg"/><Relationship Id="rId36" Type="http://schemas.openxmlformats.org/officeDocument/2006/relationships/image" Target="../media/image35.jpeg"/><Relationship Id="rId49" Type="http://schemas.openxmlformats.org/officeDocument/2006/relationships/image" Target="../media/image48.png"/><Relationship Id="rId10" Type="http://schemas.openxmlformats.org/officeDocument/2006/relationships/tags" Target="../tags/tag10.xml"/><Relationship Id="rId19" Type="http://schemas.openxmlformats.org/officeDocument/2006/relationships/image" Target="../media/image18.png"/><Relationship Id="rId31" Type="http://schemas.openxmlformats.org/officeDocument/2006/relationships/image" Target="../media/image30.png"/><Relationship Id="rId44" Type="http://schemas.openxmlformats.org/officeDocument/2006/relationships/image" Target="../media/image43.png"/><Relationship Id="rId52" Type="http://schemas.openxmlformats.org/officeDocument/2006/relationships/image" Target="../media/image5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3.png"/><Relationship Id="rId22" Type="http://schemas.openxmlformats.org/officeDocument/2006/relationships/image" Target="../media/image21.png"/><Relationship Id="rId27" Type="http://schemas.openxmlformats.org/officeDocument/2006/relationships/image" Target="../media/image26.png"/><Relationship Id="rId30" Type="http://schemas.openxmlformats.org/officeDocument/2006/relationships/image" Target="../media/image29.jpeg"/><Relationship Id="rId35" Type="http://schemas.openxmlformats.org/officeDocument/2006/relationships/image" Target="../media/image34.png"/><Relationship Id="rId43" Type="http://schemas.openxmlformats.org/officeDocument/2006/relationships/image" Target="../media/image42.png"/><Relationship Id="rId48" Type="http://schemas.openxmlformats.org/officeDocument/2006/relationships/image" Target="../media/image47.png"/><Relationship Id="rId8" Type="http://schemas.openxmlformats.org/officeDocument/2006/relationships/tags" Target="../tags/tag8.xml"/><Relationship Id="rId51" Type="http://schemas.openxmlformats.org/officeDocument/2006/relationships/image" Target="../media/image50.png"/><Relationship Id="rId3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5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5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13" Type="http://schemas.openxmlformats.org/officeDocument/2006/relationships/image" Target="../media/image67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oi.es/blogs/mintecon/2015/05/06/la-formacion-de-los-recursos-humanos/" TargetMode="External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7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26E0BFB-CDF1-4990-8C11-AC849311E0A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agen 4">
            <a:extLst>
              <a:ext uri="{FF2B5EF4-FFF2-40B4-BE49-F238E27FC236}">
                <a16:creationId xmlns:a16="http://schemas.microsoft.com/office/drawing/2014/main" id="{92B7A624-513C-3845-B2C1-35623232AE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20" t="9091" r="1" b="1"/>
          <a:stretch/>
        </p:blipFill>
        <p:spPr>
          <a:xfrm>
            <a:off x="-2" y="10"/>
            <a:ext cx="7415326" cy="586654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069A1F8-9BEB-4786-9694-FC48B2D75D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788244" y="0"/>
            <a:ext cx="940375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0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E22698D-5C54-034B-A7AE-3ABC74623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848600" y="1290160"/>
            <a:ext cx="4023360" cy="3204134"/>
          </a:xfrm>
        </p:spPr>
        <p:txBody>
          <a:bodyPr anchor="b">
            <a:normAutofit/>
          </a:bodyPr>
          <a:lstStyle/>
          <a:p>
            <a:pPr algn="l"/>
            <a:r>
              <a:rPr lang="es-ES" sz="4800" b="1" dirty="0">
                <a:latin typeface="Calibri" panose="020F0502020204030204" pitchFamily="34" charset="0"/>
                <a:cs typeface="Calibri" panose="020F0502020204030204" pitchFamily="34" charset="0"/>
              </a:rPr>
              <a:t>Encuentro </a:t>
            </a:r>
            <a:r>
              <a:rPr lang="es-ES" sz="4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SST – Grupo PRL </a:t>
            </a:r>
            <a:r>
              <a:rPr lang="es-E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digital</a:t>
            </a:r>
            <a:r>
              <a:rPr lang="es-ES" sz="4800" b="1" dirty="0" err="1" smtClean="0">
                <a:solidFill>
                  <a:srgbClr val="00999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ɘ</a:t>
            </a:r>
            <a:r>
              <a:rPr lang="es-ES" sz="48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endParaRPr lang="es-E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130540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51648" y="4546920"/>
            <a:ext cx="402336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DE22698D-5C54-034B-A7AE-3ABC74623841}"/>
              </a:ext>
            </a:extLst>
          </p:cNvPr>
          <p:cNvSpPr txBox="1">
            <a:spLocks/>
          </p:cNvSpPr>
          <p:nvPr/>
        </p:nvSpPr>
        <p:spPr>
          <a:xfrm>
            <a:off x="10071418" y="5046773"/>
            <a:ext cx="1938528" cy="43441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/>
            </a:r>
            <a:br>
              <a:rPr kumimoji="0" lang="es-ES" sz="4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20 abril 2021</a:t>
            </a:r>
            <a:endParaRPr kumimoji="0" lang="es-E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" name="1 Título">
            <a:extLst>
              <a:ext uri="{FF2B5EF4-FFF2-40B4-BE49-F238E27FC236}">
                <a16:creationId xmlns:a16="http://schemas.microsoft.com/office/drawing/2014/main" id="{78771433-3616-4387-B958-F64A1DC60B47}"/>
              </a:ext>
            </a:extLst>
          </p:cNvPr>
          <p:cNvSpPr txBox="1">
            <a:spLocks/>
          </p:cNvSpPr>
          <p:nvPr/>
        </p:nvSpPr>
        <p:spPr bwMode="auto">
          <a:xfrm>
            <a:off x="7819597" y="4539542"/>
            <a:ext cx="4190349" cy="671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Acuerdo</a:t>
            </a:r>
            <a:r>
              <a:rPr lang="es-ES" altLang="es-ES" b="1" dirty="0" smtClean="0">
                <a:solidFill>
                  <a:srgbClr val="33CCCC"/>
                </a:solidFill>
                <a:latin typeface="Calibri" panose="020F0502020204030204" pitchFamily="34" charset="0"/>
              </a:rPr>
              <a:t> TELCO </a:t>
            </a:r>
            <a:r>
              <a:rPr lang="es-ES" altLang="es-ES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Formación</a:t>
            </a:r>
            <a:endParaRPr lang="es-ES" altLang="es-ES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874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>
            <a:extLst>
              <a:ext uri="{FF2B5EF4-FFF2-40B4-BE49-F238E27FC236}">
                <a16:creationId xmlns:a16="http://schemas.microsoft.com/office/drawing/2014/main" id="{937812DE-B15A-4D02-9F77-60B84A28D5DD}"/>
              </a:ext>
            </a:extLst>
          </p:cNvPr>
          <p:cNvSpPr/>
          <p:nvPr/>
        </p:nvSpPr>
        <p:spPr>
          <a:xfrm>
            <a:off x="2565400" y="1844102"/>
            <a:ext cx="9387416" cy="2677656"/>
          </a:xfrm>
          <a:prstGeom prst="rect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>
            <a:spAutoFit/>
          </a:bodyPr>
          <a:lstStyle/>
          <a:p>
            <a:pPr algn="just" eaLnBrk="1" hangingPunct="1">
              <a:defRPr/>
            </a:pPr>
            <a:r>
              <a:rPr lang="es-ES" sz="2800" dirty="0">
                <a:latin typeface="Calibri" panose="020F0502020204030204" pitchFamily="34" charset="0"/>
                <a:cs typeface="Calibri" panose="020F0502020204030204" pitchFamily="34" charset="0"/>
              </a:rPr>
              <a:t>El curso de </a:t>
            </a:r>
            <a:r>
              <a:rPr lang="es-ES" sz="2800" b="1" dirty="0">
                <a:latin typeface="Calibri" panose="020F0502020204030204" pitchFamily="34" charset="0"/>
                <a:cs typeface="Calibri" panose="020F0502020204030204" pitchFamily="34" charset="0"/>
              </a:rPr>
              <a:t>Operaciones</a:t>
            </a:r>
            <a:r>
              <a:rPr lang="es-ES" sz="2800" dirty="0">
                <a:latin typeface="Calibri" panose="020F0502020204030204" pitchFamily="34" charset="0"/>
                <a:cs typeface="Calibri" panose="020F0502020204030204" pitchFamily="34" charset="0"/>
              </a:rPr>
              <a:t> podrá impartirse desde los </a:t>
            </a:r>
            <a:r>
              <a:rPr lang="es-E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ervicios de Prevención Propios (SPP) </a:t>
            </a:r>
            <a:r>
              <a:rPr lang="es-ES" sz="2800" dirty="0">
                <a:latin typeface="Calibri" panose="020F0502020204030204" pitchFamily="34" charset="0"/>
                <a:cs typeface="Calibri" panose="020F0502020204030204" pitchFamily="34" charset="0"/>
              </a:rPr>
              <a:t>de las empresas que se adhieran al acuerdo, sin necesidad de homologarse, y </a:t>
            </a:r>
            <a:r>
              <a:rPr lang="es-ES" sz="2800" b="1" dirty="0">
                <a:latin typeface="Calibri" panose="020F0502020204030204" pitchFamily="34" charset="0"/>
                <a:cs typeface="Calibri" panose="020F0502020204030204" pitchFamily="34" charset="0"/>
              </a:rPr>
              <a:t>solo para empleados propios</a:t>
            </a:r>
            <a:r>
              <a:rPr lang="es-ES" sz="2800" dirty="0">
                <a:latin typeface="Calibri" panose="020F0502020204030204" pitchFamily="34" charset="0"/>
                <a:cs typeface="Calibri" panose="020F0502020204030204" pitchFamily="34" charset="0"/>
              </a:rPr>
              <a:t>. Si quisieran impartir este curso a terceros deberían homologarse como el resto de empresas de formación.</a:t>
            </a:r>
          </a:p>
        </p:txBody>
      </p:sp>
      <p:sp>
        <p:nvSpPr>
          <p:cNvPr id="16" name="3 Rectángulo redondeado">
            <a:extLst>
              <a:ext uri="{FF2B5EF4-FFF2-40B4-BE49-F238E27FC236}">
                <a16:creationId xmlns:a16="http://schemas.microsoft.com/office/drawing/2014/main" id="{ECBD43D9-AB78-4C92-B5E8-D5D86E8494BC}"/>
              </a:ext>
            </a:extLst>
          </p:cNvPr>
          <p:cNvSpPr/>
          <p:nvPr/>
        </p:nvSpPr>
        <p:spPr>
          <a:xfrm>
            <a:off x="191558" y="2665792"/>
            <a:ext cx="2163233" cy="1079500"/>
          </a:xfrm>
          <a:custGeom>
            <a:avLst/>
            <a:gdLst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160240 w 2160240"/>
              <a:gd name="connsiteY4" fmla="*/ 360039 h 432048"/>
              <a:gd name="connsiteX5" fmla="*/ 2088231 w 2160240"/>
              <a:gd name="connsiteY5" fmla="*/ 432048 h 432048"/>
              <a:gd name="connsiteX6" fmla="*/ 72009 w 2160240"/>
              <a:gd name="connsiteY6" fmla="*/ 432048 h 432048"/>
              <a:gd name="connsiteX7" fmla="*/ 0 w 2160240"/>
              <a:gd name="connsiteY7" fmla="*/ 360039 h 432048"/>
              <a:gd name="connsiteX8" fmla="*/ 0 w 2160240"/>
              <a:gd name="connsiteY8" fmla="*/ 72009 h 432048"/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088231 w 2160240"/>
              <a:gd name="connsiteY4" fmla="*/ 432048 h 432048"/>
              <a:gd name="connsiteX5" fmla="*/ 72009 w 2160240"/>
              <a:gd name="connsiteY5" fmla="*/ 432048 h 432048"/>
              <a:gd name="connsiteX6" fmla="*/ 0 w 2160240"/>
              <a:gd name="connsiteY6" fmla="*/ 360039 h 432048"/>
              <a:gd name="connsiteX7" fmla="*/ 0 w 2160240"/>
              <a:gd name="connsiteY7" fmla="*/ 72009 h 432048"/>
              <a:gd name="connsiteX0" fmla="*/ 0 w 2392996"/>
              <a:gd name="connsiteY0" fmla="*/ 72009 h 432048"/>
              <a:gd name="connsiteX1" fmla="*/ 72009 w 2392996"/>
              <a:gd name="connsiteY1" fmla="*/ 0 h 432048"/>
              <a:gd name="connsiteX2" fmla="*/ 2088231 w 2392996"/>
              <a:gd name="connsiteY2" fmla="*/ 0 h 432048"/>
              <a:gd name="connsiteX3" fmla="*/ 2392996 w 2392996"/>
              <a:gd name="connsiteY3" fmla="*/ 232721 h 432048"/>
              <a:gd name="connsiteX4" fmla="*/ 2088231 w 2392996"/>
              <a:gd name="connsiteY4" fmla="*/ 432048 h 432048"/>
              <a:gd name="connsiteX5" fmla="*/ 72009 w 2392996"/>
              <a:gd name="connsiteY5" fmla="*/ 432048 h 432048"/>
              <a:gd name="connsiteX6" fmla="*/ 0 w 2392996"/>
              <a:gd name="connsiteY6" fmla="*/ 360039 h 432048"/>
              <a:gd name="connsiteX7" fmla="*/ 0 w 2392996"/>
              <a:gd name="connsiteY7" fmla="*/ 72009 h 432048"/>
              <a:gd name="connsiteX0" fmla="*/ 0 w 2426247"/>
              <a:gd name="connsiteY0" fmla="*/ 72009 h 432048"/>
              <a:gd name="connsiteX1" fmla="*/ 72009 w 2426247"/>
              <a:gd name="connsiteY1" fmla="*/ 0 h 432048"/>
              <a:gd name="connsiteX2" fmla="*/ 2088231 w 2426247"/>
              <a:gd name="connsiteY2" fmla="*/ 0 h 432048"/>
              <a:gd name="connsiteX3" fmla="*/ 2426247 w 2426247"/>
              <a:gd name="connsiteY3" fmla="*/ 227179 h 432048"/>
              <a:gd name="connsiteX4" fmla="*/ 2088231 w 2426247"/>
              <a:gd name="connsiteY4" fmla="*/ 432048 h 432048"/>
              <a:gd name="connsiteX5" fmla="*/ 72009 w 2426247"/>
              <a:gd name="connsiteY5" fmla="*/ 432048 h 432048"/>
              <a:gd name="connsiteX6" fmla="*/ 0 w 2426247"/>
              <a:gd name="connsiteY6" fmla="*/ 360039 h 432048"/>
              <a:gd name="connsiteX7" fmla="*/ 0 w 2426247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22717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19946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145 h 432184"/>
              <a:gd name="connsiteX1" fmla="*/ 72009 w 2426291"/>
              <a:gd name="connsiteY1" fmla="*/ 136 h 432184"/>
              <a:gd name="connsiteX2" fmla="*/ 2088231 w 2426291"/>
              <a:gd name="connsiteY2" fmla="*/ 136 h 432184"/>
              <a:gd name="connsiteX3" fmla="*/ 2426247 w 2426291"/>
              <a:gd name="connsiteY3" fmla="*/ 199605 h 432184"/>
              <a:gd name="connsiteX4" fmla="*/ 2088231 w 2426291"/>
              <a:gd name="connsiteY4" fmla="*/ 432184 h 432184"/>
              <a:gd name="connsiteX5" fmla="*/ 72009 w 2426291"/>
              <a:gd name="connsiteY5" fmla="*/ 432184 h 432184"/>
              <a:gd name="connsiteX6" fmla="*/ 0 w 2426291"/>
              <a:gd name="connsiteY6" fmla="*/ 360175 h 432184"/>
              <a:gd name="connsiteX7" fmla="*/ 0 w 2426291"/>
              <a:gd name="connsiteY7" fmla="*/ 72145 h 432184"/>
              <a:gd name="connsiteX0" fmla="*/ 0 w 2426277"/>
              <a:gd name="connsiteY0" fmla="*/ 72145 h 432184"/>
              <a:gd name="connsiteX1" fmla="*/ 72009 w 2426277"/>
              <a:gd name="connsiteY1" fmla="*/ 136 h 432184"/>
              <a:gd name="connsiteX2" fmla="*/ 2088231 w 2426277"/>
              <a:gd name="connsiteY2" fmla="*/ 136 h 432184"/>
              <a:gd name="connsiteX3" fmla="*/ 2426247 w 2426277"/>
              <a:gd name="connsiteY3" fmla="*/ 199605 h 432184"/>
              <a:gd name="connsiteX4" fmla="*/ 2088231 w 2426277"/>
              <a:gd name="connsiteY4" fmla="*/ 432184 h 432184"/>
              <a:gd name="connsiteX5" fmla="*/ 72009 w 2426277"/>
              <a:gd name="connsiteY5" fmla="*/ 432184 h 432184"/>
              <a:gd name="connsiteX6" fmla="*/ 0 w 2426277"/>
              <a:gd name="connsiteY6" fmla="*/ 360175 h 432184"/>
              <a:gd name="connsiteX7" fmla="*/ 0 w 2426277"/>
              <a:gd name="connsiteY7" fmla="*/ 72145 h 432184"/>
              <a:gd name="connsiteX0" fmla="*/ 0 w 2426277"/>
              <a:gd name="connsiteY0" fmla="*/ 72120 h 432159"/>
              <a:gd name="connsiteX1" fmla="*/ 72009 w 2426277"/>
              <a:gd name="connsiteY1" fmla="*/ 111 h 432159"/>
              <a:gd name="connsiteX2" fmla="*/ 2088231 w 2426277"/>
              <a:gd name="connsiteY2" fmla="*/ 111 h 432159"/>
              <a:gd name="connsiteX3" fmla="*/ 2426247 w 2426277"/>
              <a:gd name="connsiteY3" fmla="*/ 199580 h 432159"/>
              <a:gd name="connsiteX4" fmla="*/ 2088231 w 2426277"/>
              <a:gd name="connsiteY4" fmla="*/ 432159 h 432159"/>
              <a:gd name="connsiteX5" fmla="*/ 72009 w 2426277"/>
              <a:gd name="connsiteY5" fmla="*/ 432159 h 432159"/>
              <a:gd name="connsiteX6" fmla="*/ 0 w 2426277"/>
              <a:gd name="connsiteY6" fmla="*/ 360150 h 432159"/>
              <a:gd name="connsiteX7" fmla="*/ 0 w 2426277"/>
              <a:gd name="connsiteY7" fmla="*/ 72120 h 432159"/>
              <a:gd name="connsiteX0" fmla="*/ 0 w 2426247"/>
              <a:gd name="connsiteY0" fmla="*/ 72120 h 432159"/>
              <a:gd name="connsiteX1" fmla="*/ 72009 w 2426247"/>
              <a:gd name="connsiteY1" fmla="*/ 111 h 432159"/>
              <a:gd name="connsiteX2" fmla="*/ 2088231 w 2426247"/>
              <a:gd name="connsiteY2" fmla="*/ 111 h 432159"/>
              <a:gd name="connsiteX3" fmla="*/ 2426247 w 2426247"/>
              <a:gd name="connsiteY3" fmla="*/ 199580 h 432159"/>
              <a:gd name="connsiteX4" fmla="*/ 2088231 w 2426247"/>
              <a:gd name="connsiteY4" fmla="*/ 432159 h 432159"/>
              <a:gd name="connsiteX5" fmla="*/ 72009 w 2426247"/>
              <a:gd name="connsiteY5" fmla="*/ 432159 h 432159"/>
              <a:gd name="connsiteX6" fmla="*/ 0 w 2426247"/>
              <a:gd name="connsiteY6" fmla="*/ 360150 h 432159"/>
              <a:gd name="connsiteX7" fmla="*/ 0 w 2426247"/>
              <a:gd name="connsiteY7" fmla="*/ 72120 h 432159"/>
              <a:gd name="connsiteX0" fmla="*/ 0 w 2520458"/>
              <a:gd name="connsiteY0" fmla="*/ 72117 h 432156"/>
              <a:gd name="connsiteX1" fmla="*/ 72009 w 2520458"/>
              <a:gd name="connsiteY1" fmla="*/ 108 h 432156"/>
              <a:gd name="connsiteX2" fmla="*/ 2088231 w 2520458"/>
              <a:gd name="connsiteY2" fmla="*/ 108 h 432156"/>
              <a:gd name="connsiteX3" fmla="*/ 2520458 w 2520458"/>
              <a:gd name="connsiteY3" fmla="*/ 205119 h 432156"/>
              <a:gd name="connsiteX4" fmla="*/ 2088231 w 2520458"/>
              <a:gd name="connsiteY4" fmla="*/ 432156 h 432156"/>
              <a:gd name="connsiteX5" fmla="*/ 72009 w 2520458"/>
              <a:gd name="connsiteY5" fmla="*/ 432156 h 432156"/>
              <a:gd name="connsiteX6" fmla="*/ 0 w 2520458"/>
              <a:gd name="connsiteY6" fmla="*/ 360147 h 432156"/>
              <a:gd name="connsiteX7" fmla="*/ 0 w 2520458"/>
              <a:gd name="connsiteY7" fmla="*/ 72117 h 432156"/>
              <a:gd name="connsiteX0" fmla="*/ 0 w 2583417"/>
              <a:gd name="connsiteY0" fmla="*/ 72116 h 432155"/>
              <a:gd name="connsiteX1" fmla="*/ 72009 w 2583417"/>
              <a:gd name="connsiteY1" fmla="*/ 107 h 432155"/>
              <a:gd name="connsiteX2" fmla="*/ 2088231 w 2583417"/>
              <a:gd name="connsiteY2" fmla="*/ 107 h 432155"/>
              <a:gd name="connsiteX3" fmla="*/ 2583417 w 2583417"/>
              <a:gd name="connsiteY3" fmla="*/ 208116 h 432155"/>
              <a:gd name="connsiteX4" fmla="*/ 2088231 w 2583417"/>
              <a:gd name="connsiteY4" fmla="*/ 432155 h 432155"/>
              <a:gd name="connsiteX5" fmla="*/ 72009 w 2583417"/>
              <a:gd name="connsiteY5" fmla="*/ 432155 h 432155"/>
              <a:gd name="connsiteX6" fmla="*/ 0 w 2583417"/>
              <a:gd name="connsiteY6" fmla="*/ 360146 h 432155"/>
              <a:gd name="connsiteX7" fmla="*/ 0 w 2583417"/>
              <a:gd name="connsiteY7" fmla="*/ 72116 h 432155"/>
              <a:gd name="connsiteX0" fmla="*/ 0 w 2607401"/>
              <a:gd name="connsiteY0" fmla="*/ 72099 h 432138"/>
              <a:gd name="connsiteX1" fmla="*/ 72009 w 2607401"/>
              <a:gd name="connsiteY1" fmla="*/ 90 h 432138"/>
              <a:gd name="connsiteX2" fmla="*/ 2088231 w 2607401"/>
              <a:gd name="connsiteY2" fmla="*/ 90 h 432138"/>
              <a:gd name="connsiteX3" fmla="*/ 2607401 w 2607401"/>
              <a:gd name="connsiteY3" fmla="*/ 250071 h 432138"/>
              <a:gd name="connsiteX4" fmla="*/ 2088231 w 2607401"/>
              <a:gd name="connsiteY4" fmla="*/ 432138 h 432138"/>
              <a:gd name="connsiteX5" fmla="*/ 72009 w 2607401"/>
              <a:gd name="connsiteY5" fmla="*/ 432138 h 432138"/>
              <a:gd name="connsiteX6" fmla="*/ 0 w 2607401"/>
              <a:gd name="connsiteY6" fmla="*/ 360129 h 432138"/>
              <a:gd name="connsiteX7" fmla="*/ 0 w 2607401"/>
              <a:gd name="connsiteY7" fmla="*/ 72099 h 432138"/>
              <a:gd name="connsiteX0" fmla="*/ 0 w 2661365"/>
              <a:gd name="connsiteY0" fmla="*/ 72100 h 432139"/>
              <a:gd name="connsiteX1" fmla="*/ 72009 w 2661365"/>
              <a:gd name="connsiteY1" fmla="*/ 91 h 432139"/>
              <a:gd name="connsiteX2" fmla="*/ 2088231 w 2661365"/>
              <a:gd name="connsiteY2" fmla="*/ 91 h 432139"/>
              <a:gd name="connsiteX3" fmla="*/ 2661365 w 2661365"/>
              <a:gd name="connsiteY3" fmla="*/ 244076 h 432139"/>
              <a:gd name="connsiteX4" fmla="*/ 2088231 w 2661365"/>
              <a:gd name="connsiteY4" fmla="*/ 432139 h 432139"/>
              <a:gd name="connsiteX5" fmla="*/ 72009 w 2661365"/>
              <a:gd name="connsiteY5" fmla="*/ 432139 h 432139"/>
              <a:gd name="connsiteX6" fmla="*/ 0 w 2661365"/>
              <a:gd name="connsiteY6" fmla="*/ 360130 h 432139"/>
              <a:gd name="connsiteX7" fmla="*/ 0 w 2661365"/>
              <a:gd name="connsiteY7" fmla="*/ 72100 h 432139"/>
              <a:gd name="connsiteX0" fmla="*/ 0 w 2598407"/>
              <a:gd name="connsiteY0" fmla="*/ 72109 h 432148"/>
              <a:gd name="connsiteX1" fmla="*/ 72009 w 2598407"/>
              <a:gd name="connsiteY1" fmla="*/ 100 h 432148"/>
              <a:gd name="connsiteX2" fmla="*/ 2088231 w 2598407"/>
              <a:gd name="connsiteY2" fmla="*/ 100 h 432148"/>
              <a:gd name="connsiteX3" fmla="*/ 2598407 w 2598407"/>
              <a:gd name="connsiteY3" fmla="*/ 220101 h 432148"/>
              <a:gd name="connsiteX4" fmla="*/ 2088231 w 2598407"/>
              <a:gd name="connsiteY4" fmla="*/ 432148 h 432148"/>
              <a:gd name="connsiteX5" fmla="*/ 72009 w 2598407"/>
              <a:gd name="connsiteY5" fmla="*/ 432148 h 432148"/>
              <a:gd name="connsiteX6" fmla="*/ 0 w 2598407"/>
              <a:gd name="connsiteY6" fmla="*/ 360139 h 432148"/>
              <a:gd name="connsiteX7" fmla="*/ 0 w 2598407"/>
              <a:gd name="connsiteY7" fmla="*/ 72109 h 432148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541"/>
              <a:gd name="connsiteY0" fmla="*/ 72121 h 432160"/>
              <a:gd name="connsiteX1" fmla="*/ 72009 w 2538541"/>
              <a:gd name="connsiteY1" fmla="*/ 112 h 432160"/>
              <a:gd name="connsiteX2" fmla="*/ 2088231 w 2538541"/>
              <a:gd name="connsiteY2" fmla="*/ 112 h 432160"/>
              <a:gd name="connsiteX3" fmla="*/ 2538446 w 2538541"/>
              <a:gd name="connsiteY3" fmla="*/ 196129 h 432160"/>
              <a:gd name="connsiteX4" fmla="*/ 2088231 w 2538541"/>
              <a:gd name="connsiteY4" fmla="*/ 432160 h 432160"/>
              <a:gd name="connsiteX5" fmla="*/ 72009 w 2538541"/>
              <a:gd name="connsiteY5" fmla="*/ 432160 h 432160"/>
              <a:gd name="connsiteX6" fmla="*/ 0 w 2538541"/>
              <a:gd name="connsiteY6" fmla="*/ 360151 h 432160"/>
              <a:gd name="connsiteX7" fmla="*/ 0 w 2538541"/>
              <a:gd name="connsiteY7" fmla="*/ 72121 h 432160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446"/>
              <a:gd name="connsiteY0" fmla="*/ 72121 h 432332"/>
              <a:gd name="connsiteX1" fmla="*/ 72009 w 2538446"/>
              <a:gd name="connsiteY1" fmla="*/ 112 h 432332"/>
              <a:gd name="connsiteX2" fmla="*/ 2088231 w 2538446"/>
              <a:gd name="connsiteY2" fmla="*/ 112 h 432332"/>
              <a:gd name="connsiteX3" fmla="*/ 2538446 w 2538446"/>
              <a:gd name="connsiteY3" fmla="*/ 196129 h 432332"/>
              <a:gd name="connsiteX4" fmla="*/ 2088231 w 2538446"/>
              <a:gd name="connsiteY4" fmla="*/ 432160 h 432332"/>
              <a:gd name="connsiteX5" fmla="*/ 72009 w 2538446"/>
              <a:gd name="connsiteY5" fmla="*/ 432160 h 432332"/>
              <a:gd name="connsiteX6" fmla="*/ 0 w 2538446"/>
              <a:gd name="connsiteY6" fmla="*/ 360151 h 432332"/>
              <a:gd name="connsiteX7" fmla="*/ 0 w 2538446"/>
              <a:gd name="connsiteY7" fmla="*/ 72121 h 432332"/>
              <a:gd name="connsiteX0" fmla="*/ 0 w 2538504"/>
              <a:gd name="connsiteY0" fmla="*/ 72117 h 432328"/>
              <a:gd name="connsiteX1" fmla="*/ 72009 w 2538504"/>
              <a:gd name="connsiteY1" fmla="*/ 108 h 432328"/>
              <a:gd name="connsiteX2" fmla="*/ 2088231 w 2538504"/>
              <a:gd name="connsiteY2" fmla="*/ 108 h 432328"/>
              <a:gd name="connsiteX3" fmla="*/ 2538446 w 2538504"/>
              <a:gd name="connsiteY3" fmla="*/ 196125 h 432328"/>
              <a:gd name="connsiteX4" fmla="*/ 2088231 w 2538504"/>
              <a:gd name="connsiteY4" fmla="*/ 432156 h 432328"/>
              <a:gd name="connsiteX5" fmla="*/ 72009 w 2538504"/>
              <a:gd name="connsiteY5" fmla="*/ 432156 h 432328"/>
              <a:gd name="connsiteX6" fmla="*/ 0 w 2538504"/>
              <a:gd name="connsiteY6" fmla="*/ 360147 h 432328"/>
              <a:gd name="connsiteX7" fmla="*/ 0 w 2538504"/>
              <a:gd name="connsiteY7" fmla="*/ 72117 h 432328"/>
              <a:gd name="connsiteX0" fmla="*/ 0 w 2538504"/>
              <a:gd name="connsiteY0" fmla="*/ 72111 h 432332"/>
              <a:gd name="connsiteX1" fmla="*/ 72009 w 2538504"/>
              <a:gd name="connsiteY1" fmla="*/ 102 h 432332"/>
              <a:gd name="connsiteX2" fmla="*/ 2088231 w 2538504"/>
              <a:gd name="connsiteY2" fmla="*/ 102 h 432332"/>
              <a:gd name="connsiteX3" fmla="*/ 2538446 w 2538504"/>
              <a:gd name="connsiteY3" fmla="*/ 210265 h 432332"/>
              <a:gd name="connsiteX4" fmla="*/ 2088231 w 2538504"/>
              <a:gd name="connsiteY4" fmla="*/ 432150 h 432332"/>
              <a:gd name="connsiteX5" fmla="*/ 72009 w 2538504"/>
              <a:gd name="connsiteY5" fmla="*/ 432150 h 432332"/>
              <a:gd name="connsiteX6" fmla="*/ 0 w 2538504"/>
              <a:gd name="connsiteY6" fmla="*/ 360141 h 432332"/>
              <a:gd name="connsiteX7" fmla="*/ 0 w 2538504"/>
              <a:gd name="connsiteY7" fmla="*/ 72111 h 432332"/>
              <a:gd name="connsiteX0" fmla="*/ 0 w 2538504"/>
              <a:gd name="connsiteY0" fmla="*/ 72111 h 432356"/>
              <a:gd name="connsiteX1" fmla="*/ 72009 w 2538504"/>
              <a:gd name="connsiteY1" fmla="*/ 102 h 432356"/>
              <a:gd name="connsiteX2" fmla="*/ 2088231 w 2538504"/>
              <a:gd name="connsiteY2" fmla="*/ 102 h 432356"/>
              <a:gd name="connsiteX3" fmla="*/ 2538446 w 2538504"/>
              <a:gd name="connsiteY3" fmla="*/ 210265 h 432356"/>
              <a:gd name="connsiteX4" fmla="*/ 2088231 w 2538504"/>
              <a:gd name="connsiteY4" fmla="*/ 432150 h 432356"/>
              <a:gd name="connsiteX5" fmla="*/ 72009 w 2538504"/>
              <a:gd name="connsiteY5" fmla="*/ 432150 h 432356"/>
              <a:gd name="connsiteX6" fmla="*/ 0 w 2538504"/>
              <a:gd name="connsiteY6" fmla="*/ 360141 h 432356"/>
              <a:gd name="connsiteX7" fmla="*/ 0 w 2538504"/>
              <a:gd name="connsiteY7" fmla="*/ 72111 h 432356"/>
              <a:gd name="connsiteX0" fmla="*/ 0 w 2538446"/>
              <a:gd name="connsiteY0" fmla="*/ 73192 h 433437"/>
              <a:gd name="connsiteX1" fmla="*/ 72009 w 2538446"/>
              <a:gd name="connsiteY1" fmla="*/ 1183 h 433437"/>
              <a:gd name="connsiteX2" fmla="*/ 2088231 w 2538446"/>
              <a:gd name="connsiteY2" fmla="*/ 1183 h 433437"/>
              <a:gd name="connsiteX3" fmla="*/ 2538446 w 2538446"/>
              <a:gd name="connsiteY3" fmla="*/ 211346 h 433437"/>
              <a:gd name="connsiteX4" fmla="*/ 2088231 w 2538446"/>
              <a:gd name="connsiteY4" fmla="*/ 433231 h 433437"/>
              <a:gd name="connsiteX5" fmla="*/ 72009 w 2538446"/>
              <a:gd name="connsiteY5" fmla="*/ 433231 h 433437"/>
              <a:gd name="connsiteX6" fmla="*/ 0 w 2538446"/>
              <a:gd name="connsiteY6" fmla="*/ 361222 h 433437"/>
              <a:gd name="connsiteX7" fmla="*/ 0 w 2538446"/>
              <a:gd name="connsiteY7" fmla="*/ 73192 h 433437"/>
              <a:gd name="connsiteX0" fmla="*/ 0 w 2538446"/>
              <a:gd name="connsiteY0" fmla="*/ 73004 h 433249"/>
              <a:gd name="connsiteX1" fmla="*/ 72009 w 2538446"/>
              <a:gd name="connsiteY1" fmla="*/ 995 h 433249"/>
              <a:gd name="connsiteX2" fmla="*/ 2088231 w 2538446"/>
              <a:gd name="connsiteY2" fmla="*/ 995 h 433249"/>
              <a:gd name="connsiteX3" fmla="*/ 2538446 w 2538446"/>
              <a:gd name="connsiteY3" fmla="*/ 211158 h 433249"/>
              <a:gd name="connsiteX4" fmla="*/ 2088231 w 2538446"/>
              <a:gd name="connsiteY4" fmla="*/ 433043 h 433249"/>
              <a:gd name="connsiteX5" fmla="*/ 72009 w 2538446"/>
              <a:gd name="connsiteY5" fmla="*/ 433043 h 433249"/>
              <a:gd name="connsiteX6" fmla="*/ 0 w 2538446"/>
              <a:gd name="connsiteY6" fmla="*/ 361034 h 433249"/>
              <a:gd name="connsiteX7" fmla="*/ 0 w 2538446"/>
              <a:gd name="connsiteY7" fmla="*/ 73004 h 433249"/>
              <a:gd name="connsiteX0" fmla="*/ 0 w 2538446"/>
              <a:gd name="connsiteY0" fmla="*/ 73004 h 434912"/>
              <a:gd name="connsiteX1" fmla="*/ 72009 w 2538446"/>
              <a:gd name="connsiteY1" fmla="*/ 995 h 434912"/>
              <a:gd name="connsiteX2" fmla="*/ 2088231 w 2538446"/>
              <a:gd name="connsiteY2" fmla="*/ 995 h 434912"/>
              <a:gd name="connsiteX3" fmla="*/ 2538446 w 2538446"/>
              <a:gd name="connsiteY3" fmla="*/ 211158 h 434912"/>
              <a:gd name="connsiteX4" fmla="*/ 2088231 w 2538446"/>
              <a:gd name="connsiteY4" fmla="*/ 433043 h 434912"/>
              <a:gd name="connsiteX5" fmla="*/ 72009 w 2538446"/>
              <a:gd name="connsiteY5" fmla="*/ 433043 h 434912"/>
              <a:gd name="connsiteX6" fmla="*/ 0 w 2538446"/>
              <a:gd name="connsiteY6" fmla="*/ 361034 h 434912"/>
              <a:gd name="connsiteX7" fmla="*/ 0 w 2538446"/>
              <a:gd name="connsiteY7" fmla="*/ 73004 h 434912"/>
              <a:gd name="connsiteX0" fmla="*/ 0 w 2538446"/>
              <a:gd name="connsiteY0" fmla="*/ 73195 h 435103"/>
              <a:gd name="connsiteX1" fmla="*/ 72009 w 2538446"/>
              <a:gd name="connsiteY1" fmla="*/ 1186 h 435103"/>
              <a:gd name="connsiteX2" fmla="*/ 2088231 w 2538446"/>
              <a:gd name="connsiteY2" fmla="*/ 1186 h 435103"/>
              <a:gd name="connsiteX3" fmla="*/ 2538446 w 2538446"/>
              <a:gd name="connsiteY3" fmla="*/ 211349 h 435103"/>
              <a:gd name="connsiteX4" fmla="*/ 2088231 w 2538446"/>
              <a:gd name="connsiteY4" fmla="*/ 433234 h 435103"/>
              <a:gd name="connsiteX5" fmla="*/ 72009 w 2538446"/>
              <a:gd name="connsiteY5" fmla="*/ 433234 h 435103"/>
              <a:gd name="connsiteX6" fmla="*/ 0 w 2538446"/>
              <a:gd name="connsiteY6" fmla="*/ 361225 h 435103"/>
              <a:gd name="connsiteX7" fmla="*/ 0 w 2538446"/>
              <a:gd name="connsiteY7" fmla="*/ 73195 h 435103"/>
              <a:gd name="connsiteX0" fmla="*/ 0 w 2538459"/>
              <a:gd name="connsiteY0" fmla="*/ 72009 h 433917"/>
              <a:gd name="connsiteX1" fmla="*/ 72009 w 2538459"/>
              <a:gd name="connsiteY1" fmla="*/ 0 h 433917"/>
              <a:gd name="connsiteX2" fmla="*/ 2088231 w 2538459"/>
              <a:gd name="connsiteY2" fmla="*/ 0 h 433917"/>
              <a:gd name="connsiteX3" fmla="*/ 2316843 w 2538459"/>
              <a:gd name="connsiteY3" fmla="*/ 64721 h 433917"/>
              <a:gd name="connsiteX4" fmla="*/ 2538446 w 2538459"/>
              <a:gd name="connsiteY4" fmla="*/ 210163 h 433917"/>
              <a:gd name="connsiteX5" fmla="*/ 2088231 w 2538459"/>
              <a:gd name="connsiteY5" fmla="*/ 432048 h 433917"/>
              <a:gd name="connsiteX6" fmla="*/ 72009 w 2538459"/>
              <a:gd name="connsiteY6" fmla="*/ 432048 h 433917"/>
              <a:gd name="connsiteX7" fmla="*/ 0 w 2538459"/>
              <a:gd name="connsiteY7" fmla="*/ 360039 h 433917"/>
              <a:gd name="connsiteX8" fmla="*/ 0 w 2538459"/>
              <a:gd name="connsiteY8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2048"/>
              <a:gd name="connsiteX1" fmla="*/ 72009 w 2538446"/>
              <a:gd name="connsiteY1" fmla="*/ 0 h 432048"/>
              <a:gd name="connsiteX2" fmla="*/ 2088231 w 2538446"/>
              <a:gd name="connsiteY2" fmla="*/ 0 h 432048"/>
              <a:gd name="connsiteX3" fmla="*/ 2538446 w 2538446"/>
              <a:gd name="connsiteY3" fmla="*/ 210163 h 432048"/>
              <a:gd name="connsiteX4" fmla="*/ 2088231 w 2538446"/>
              <a:gd name="connsiteY4" fmla="*/ 432048 h 432048"/>
              <a:gd name="connsiteX5" fmla="*/ 72009 w 2538446"/>
              <a:gd name="connsiteY5" fmla="*/ 432048 h 432048"/>
              <a:gd name="connsiteX6" fmla="*/ 0 w 2538446"/>
              <a:gd name="connsiteY6" fmla="*/ 360039 h 432048"/>
              <a:gd name="connsiteX7" fmla="*/ 0 w 2538446"/>
              <a:gd name="connsiteY7" fmla="*/ 72009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38446" h="432048">
                <a:moveTo>
                  <a:pt x="0" y="72009"/>
                </a:moveTo>
                <a:cubicBezTo>
                  <a:pt x="0" y="32240"/>
                  <a:pt x="32240" y="0"/>
                  <a:pt x="72009" y="0"/>
                </a:cubicBezTo>
                <a:lnTo>
                  <a:pt x="2088231" y="0"/>
                </a:lnTo>
                <a:cubicBezTo>
                  <a:pt x="2084302" y="127"/>
                  <a:pt x="2427316" y="155605"/>
                  <a:pt x="2538446" y="210163"/>
                </a:cubicBezTo>
                <a:lnTo>
                  <a:pt x="2088231" y="432048"/>
                </a:lnTo>
                <a:lnTo>
                  <a:pt x="72009" y="432048"/>
                </a:lnTo>
                <a:cubicBezTo>
                  <a:pt x="32240" y="432048"/>
                  <a:pt x="0" y="399808"/>
                  <a:pt x="0" y="360039"/>
                </a:cubicBezTo>
                <a:lnTo>
                  <a:pt x="0" y="72009"/>
                </a:lnTo>
                <a:close/>
              </a:path>
            </a:pathLst>
          </a:custGeom>
          <a:solidFill>
            <a:srgbClr val="009999"/>
          </a:solidFill>
          <a:ln w="508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17" name="16 CuadroTexto">
            <a:extLst>
              <a:ext uri="{FF2B5EF4-FFF2-40B4-BE49-F238E27FC236}">
                <a16:creationId xmlns:a16="http://schemas.microsoft.com/office/drawing/2014/main" id="{4D9D49FB-F2C3-4554-8427-738856E6286B}"/>
              </a:ext>
            </a:extLst>
          </p:cNvPr>
          <p:cNvSpPr txBox="1"/>
          <p:nvPr/>
        </p:nvSpPr>
        <p:spPr bwMode="auto">
          <a:xfrm>
            <a:off x="48683" y="2728392"/>
            <a:ext cx="2095500" cy="95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s-ES" sz="1867" b="1" dirty="0">
                <a:latin typeface="Calibri" panose="020F0502020204030204" pitchFamily="34" charset="0"/>
                <a:cs typeface="Calibri" panose="020F0502020204030204" pitchFamily="34" charset="0"/>
              </a:rPr>
              <a:t>SERVICIOS DE PREVENCIÓN PROPIOS</a:t>
            </a:r>
            <a:endParaRPr lang="es-ES" sz="1867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2" name="1 Título">
            <a:extLst>
              <a:ext uri="{FF2B5EF4-FFF2-40B4-BE49-F238E27FC236}">
                <a16:creationId xmlns:a16="http://schemas.microsoft.com/office/drawing/2014/main" id="{7A5C0992-11BC-49B2-A595-858DF39EEA6D}"/>
              </a:ext>
            </a:extLst>
          </p:cNvPr>
          <p:cNvSpPr txBox="1">
            <a:spLocks/>
          </p:cNvSpPr>
          <p:nvPr/>
        </p:nvSpPr>
        <p:spPr bwMode="auto">
          <a:xfrm>
            <a:off x="48683" y="-112112"/>
            <a:ext cx="11904133" cy="1441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 </a:t>
            </a:r>
            <a:r>
              <a:rPr lang="es-ES" altLang="es-ES" sz="4000" b="1" dirty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8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Formación:</a:t>
            </a:r>
            <a:r>
              <a:rPr lang="es-ES" altLang="es-ES" sz="48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empresas </a:t>
            </a:r>
            <a:r>
              <a:rPr lang="es-ES" altLang="es-ES" sz="3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e formación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homologadas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516" y="146412"/>
            <a:ext cx="1438338" cy="22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441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3 Rectángulo redondeado">
            <a:extLst>
              <a:ext uri="{FF2B5EF4-FFF2-40B4-BE49-F238E27FC236}">
                <a16:creationId xmlns:a16="http://schemas.microsoft.com/office/drawing/2014/main" id="{D5EB949F-00DD-4D60-8BEE-A0D90B2872D2}"/>
              </a:ext>
            </a:extLst>
          </p:cNvPr>
          <p:cNvSpPr/>
          <p:nvPr/>
        </p:nvSpPr>
        <p:spPr>
          <a:xfrm>
            <a:off x="472018" y="1874113"/>
            <a:ext cx="2260600" cy="1492249"/>
          </a:xfrm>
          <a:custGeom>
            <a:avLst/>
            <a:gdLst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160240 w 2160240"/>
              <a:gd name="connsiteY4" fmla="*/ 360039 h 432048"/>
              <a:gd name="connsiteX5" fmla="*/ 2088231 w 2160240"/>
              <a:gd name="connsiteY5" fmla="*/ 432048 h 432048"/>
              <a:gd name="connsiteX6" fmla="*/ 72009 w 2160240"/>
              <a:gd name="connsiteY6" fmla="*/ 432048 h 432048"/>
              <a:gd name="connsiteX7" fmla="*/ 0 w 2160240"/>
              <a:gd name="connsiteY7" fmla="*/ 360039 h 432048"/>
              <a:gd name="connsiteX8" fmla="*/ 0 w 2160240"/>
              <a:gd name="connsiteY8" fmla="*/ 72009 h 432048"/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088231 w 2160240"/>
              <a:gd name="connsiteY4" fmla="*/ 432048 h 432048"/>
              <a:gd name="connsiteX5" fmla="*/ 72009 w 2160240"/>
              <a:gd name="connsiteY5" fmla="*/ 432048 h 432048"/>
              <a:gd name="connsiteX6" fmla="*/ 0 w 2160240"/>
              <a:gd name="connsiteY6" fmla="*/ 360039 h 432048"/>
              <a:gd name="connsiteX7" fmla="*/ 0 w 2160240"/>
              <a:gd name="connsiteY7" fmla="*/ 72009 h 432048"/>
              <a:gd name="connsiteX0" fmla="*/ 0 w 2392996"/>
              <a:gd name="connsiteY0" fmla="*/ 72009 h 432048"/>
              <a:gd name="connsiteX1" fmla="*/ 72009 w 2392996"/>
              <a:gd name="connsiteY1" fmla="*/ 0 h 432048"/>
              <a:gd name="connsiteX2" fmla="*/ 2088231 w 2392996"/>
              <a:gd name="connsiteY2" fmla="*/ 0 h 432048"/>
              <a:gd name="connsiteX3" fmla="*/ 2392996 w 2392996"/>
              <a:gd name="connsiteY3" fmla="*/ 232721 h 432048"/>
              <a:gd name="connsiteX4" fmla="*/ 2088231 w 2392996"/>
              <a:gd name="connsiteY4" fmla="*/ 432048 h 432048"/>
              <a:gd name="connsiteX5" fmla="*/ 72009 w 2392996"/>
              <a:gd name="connsiteY5" fmla="*/ 432048 h 432048"/>
              <a:gd name="connsiteX6" fmla="*/ 0 w 2392996"/>
              <a:gd name="connsiteY6" fmla="*/ 360039 h 432048"/>
              <a:gd name="connsiteX7" fmla="*/ 0 w 2392996"/>
              <a:gd name="connsiteY7" fmla="*/ 72009 h 432048"/>
              <a:gd name="connsiteX0" fmla="*/ 0 w 2426247"/>
              <a:gd name="connsiteY0" fmla="*/ 72009 h 432048"/>
              <a:gd name="connsiteX1" fmla="*/ 72009 w 2426247"/>
              <a:gd name="connsiteY1" fmla="*/ 0 h 432048"/>
              <a:gd name="connsiteX2" fmla="*/ 2088231 w 2426247"/>
              <a:gd name="connsiteY2" fmla="*/ 0 h 432048"/>
              <a:gd name="connsiteX3" fmla="*/ 2426247 w 2426247"/>
              <a:gd name="connsiteY3" fmla="*/ 227179 h 432048"/>
              <a:gd name="connsiteX4" fmla="*/ 2088231 w 2426247"/>
              <a:gd name="connsiteY4" fmla="*/ 432048 h 432048"/>
              <a:gd name="connsiteX5" fmla="*/ 72009 w 2426247"/>
              <a:gd name="connsiteY5" fmla="*/ 432048 h 432048"/>
              <a:gd name="connsiteX6" fmla="*/ 0 w 2426247"/>
              <a:gd name="connsiteY6" fmla="*/ 360039 h 432048"/>
              <a:gd name="connsiteX7" fmla="*/ 0 w 2426247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22717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19946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145 h 432184"/>
              <a:gd name="connsiteX1" fmla="*/ 72009 w 2426291"/>
              <a:gd name="connsiteY1" fmla="*/ 136 h 432184"/>
              <a:gd name="connsiteX2" fmla="*/ 2088231 w 2426291"/>
              <a:gd name="connsiteY2" fmla="*/ 136 h 432184"/>
              <a:gd name="connsiteX3" fmla="*/ 2426247 w 2426291"/>
              <a:gd name="connsiteY3" fmla="*/ 199605 h 432184"/>
              <a:gd name="connsiteX4" fmla="*/ 2088231 w 2426291"/>
              <a:gd name="connsiteY4" fmla="*/ 432184 h 432184"/>
              <a:gd name="connsiteX5" fmla="*/ 72009 w 2426291"/>
              <a:gd name="connsiteY5" fmla="*/ 432184 h 432184"/>
              <a:gd name="connsiteX6" fmla="*/ 0 w 2426291"/>
              <a:gd name="connsiteY6" fmla="*/ 360175 h 432184"/>
              <a:gd name="connsiteX7" fmla="*/ 0 w 2426291"/>
              <a:gd name="connsiteY7" fmla="*/ 72145 h 432184"/>
              <a:gd name="connsiteX0" fmla="*/ 0 w 2426277"/>
              <a:gd name="connsiteY0" fmla="*/ 72145 h 432184"/>
              <a:gd name="connsiteX1" fmla="*/ 72009 w 2426277"/>
              <a:gd name="connsiteY1" fmla="*/ 136 h 432184"/>
              <a:gd name="connsiteX2" fmla="*/ 2088231 w 2426277"/>
              <a:gd name="connsiteY2" fmla="*/ 136 h 432184"/>
              <a:gd name="connsiteX3" fmla="*/ 2426247 w 2426277"/>
              <a:gd name="connsiteY3" fmla="*/ 199605 h 432184"/>
              <a:gd name="connsiteX4" fmla="*/ 2088231 w 2426277"/>
              <a:gd name="connsiteY4" fmla="*/ 432184 h 432184"/>
              <a:gd name="connsiteX5" fmla="*/ 72009 w 2426277"/>
              <a:gd name="connsiteY5" fmla="*/ 432184 h 432184"/>
              <a:gd name="connsiteX6" fmla="*/ 0 w 2426277"/>
              <a:gd name="connsiteY6" fmla="*/ 360175 h 432184"/>
              <a:gd name="connsiteX7" fmla="*/ 0 w 2426277"/>
              <a:gd name="connsiteY7" fmla="*/ 72145 h 432184"/>
              <a:gd name="connsiteX0" fmla="*/ 0 w 2426277"/>
              <a:gd name="connsiteY0" fmla="*/ 72120 h 432159"/>
              <a:gd name="connsiteX1" fmla="*/ 72009 w 2426277"/>
              <a:gd name="connsiteY1" fmla="*/ 111 h 432159"/>
              <a:gd name="connsiteX2" fmla="*/ 2088231 w 2426277"/>
              <a:gd name="connsiteY2" fmla="*/ 111 h 432159"/>
              <a:gd name="connsiteX3" fmla="*/ 2426247 w 2426277"/>
              <a:gd name="connsiteY3" fmla="*/ 199580 h 432159"/>
              <a:gd name="connsiteX4" fmla="*/ 2088231 w 2426277"/>
              <a:gd name="connsiteY4" fmla="*/ 432159 h 432159"/>
              <a:gd name="connsiteX5" fmla="*/ 72009 w 2426277"/>
              <a:gd name="connsiteY5" fmla="*/ 432159 h 432159"/>
              <a:gd name="connsiteX6" fmla="*/ 0 w 2426277"/>
              <a:gd name="connsiteY6" fmla="*/ 360150 h 432159"/>
              <a:gd name="connsiteX7" fmla="*/ 0 w 2426277"/>
              <a:gd name="connsiteY7" fmla="*/ 72120 h 432159"/>
              <a:gd name="connsiteX0" fmla="*/ 0 w 2426247"/>
              <a:gd name="connsiteY0" fmla="*/ 72120 h 432159"/>
              <a:gd name="connsiteX1" fmla="*/ 72009 w 2426247"/>
              <a:gd name="connsiteY1" fmla="*/ 111 h 432159"/>
              <a:gd name="connsiteX2" fmla="*/ 2088231 w 2426247"/>
              <a:gd name="connsiteY2" fmla="*/ 111 h 432159"/>
              <a:gd name="connsiteX3" fmla="*/ 2426247 w 2426247"/>
              <a:gd name="connsiteY3" fmla="*/ 199580 h 432159"/>
              <a:gd name="connsiteX4" fmla="*/ 2088231 w 2426247"/>
              <a:gd name="connsiteY4" fmla="*/ 432159 h 432159"/>
              <a:gd name="connsiteX5" fmla="*/ 72009 w 2426247"/>
              <a:gd name="connsiteY5" fmla="*/ 432159 h 432159"/>
              <a:gd name="connsiteX6" fmla="*/ 0 w 2426247"/>
              <a:gd name="connsiteY6" fmla="*/ 360150 h 432159"/>
              <a:gd name="connsiteX7" fmla="*/ 0 w 2426247"/>
              <a:gd name="connsiteY7" fmla="*/ 72120 h 432159"/>
              <a:gd name="connsiteX0" fmla="*/ 0 w 2520458"/>
              <a:gd name="connsiteY0" fmla="*/ 72117 h 432156"/>
              <a:gd name="connsiteX1" fmla="*/ 72009 w 2520458"/>
              <a:gd name="connsiteY1" fmla="*/ 108 h 432156"/>
              <a:gd name="connsiteX2" fmla="*/ 2088231 w 2520458"/>
              <a:gd name="connsiteY2" fmla="*/ 108 h 432156"/>
              <a:gd name="connsiteX3" fmla="*/ 2520458 w 2520458"/>
              <a:gd name="connsiteY3" fmla="*/ 205119 h 432156"/>
              <a:gd name="connsiteX4" fmla="*/ 2088231 w 2520458"/>
              <a:gd name="connsiteY4" fmla="*/ 432156 h 432156"/>
              <a:gd name="connsiteX5" fmla="*/ 72009 w 2520458"/>
              <a:gd name="connsiteY5" fmla="*/ 432156 h 432156"/>
              <a:gd name="connsiteX6" fmla="*/ 0 w 2520458"/>
              <a:gd name="connsiteY6" fmla="*/ 360147 h 432156"/>
              <a:gd name="connsiteX7" fmla="*/ 0 w 2520458"/>
              <a:gd name="connsiteY7" fmla="*/ 72117 h 432156"/>
              <a:gd name="connsiteX0" fmla="*/ 0 w 2583417"/>
              <a:gd name="connsiteY0" fmla="*/ 72116 h 432155"/>
              <a:gd name="connsiteX1" fmla="*/ 72009 w 2583417"/>
              <a:gd name="connsiteY1" fmla="*/ 107 h 432155"/>
              <a:gd name="connsiteX2" fmla="*/ 2088231 w 2583417"/>
              <a:gd name="connsiteY2" fmla="*/ 107 h 432155"/>
              <a:gd name="connsiteX3" fmla="*/ 2583417 w 2583417"/>
              <a:gd name="connsiteY3" fmla="*/ 208116 h 432155"/>
              <a:gd name="connsiteX4" fmla="*/ 2088231 w 2583417"/>
              <a:gd name="connsiteY4" fmla="*/ 432155 h 432155"/>
              <a:gd name="connsiteX5" fmla="*/ 72009 w 2583417"/>
              <a:gd name="connsiteY5" fmla="*/ 432155 h 432155"/>
              <a:gd name="connsiteX6" fmla="*/ 0 w 2583417"/>
              <a:gd name="connsiteY6" fmla="*/ 360146 h 432155"/>
              <a:gd name="connsiteX7" fmla="*/ 0 w 2583417"/>
              <a:gd name="connsiteY7" fmla="*/ 72116 h 432155"/>
              <a:gd name="connsiteX0" fmla="*/ 0 w 2607401"/>
              <a:gd name="connsiteY0" fmla="*/ 72099 h 432138"/>
              <a:gd name="connsiteX1" fmla="*/ 72009 w 2607401"/>
              <a:gd name="connsiteY1" fmla="*/ 90 h 432138"/>
              <a:gd name="connsiteX2" fmla="*/ 2088231 w 2607401"/>
              <a:gd name="connsiteY2" fmla="*/ 90 h 432138"/>
              <a:gd name="connsiteX3" fmla="*/ 2607401 w 2607401"/>
              <a:gd name="connsiteY3" fmla="*/ 250071 h 432138"/>
              <a:gd name="connsiteX4" fmla="*/ 2088231 w 2607401"/>
              <a:gd name="connsiteY4" fmla="*/ 432138 h 432138"/>
              <a:gd name="connsiteX5" fmla="*/ 72009 w 2607401"/>
              <a:gd name="connsiteY5" fmla="*/ 432138 h 432138"/>
              <a:gd name="connsiteX6" fmla="*/ 0 w 2607401"/>
              <a:gd name="connsiteY6" fmla="*/ 360129 h 432138"/>
              <a:gd name="connsiteX7" fmla="*/ 0 w 2607401"/>
              <a:gd name="connsiteY7" fmla="*/ 72099 h 432138"/>
              <a:gd name="connsiteX0" fmla="*/ 0 w 2661365"/>
              <a:gd name="connsiteY0" fmla="*/ 72100 h 432139"/>
              <a:gd name="connsiteX1" fmla="*/ 72009 w 2661365"/>
              <a:gd name="connsiteY1" fmla="*/ 91 h 432139"/>
              <a:gd name="connsiteX2" fmla="*/ 2088231 w 2661365"/>
              <a:gd name="connsiteY2" fmla="*/ 91 h 432139"/>
              <a:gd name="connsiteX3" fmla="*/ 2661365 w 2661365"/>
              <a:gd name="connsiteY3" fmla="*/ 244076 h 432139"/>
              <a:gd name="connsiteX4" fmla="*/ 2088231 w 2661365"/>
              <a:gd name="connsiteY4" fmla="*/ 432139 h 432139"/>
              <a:gd name="connsiteX5" fmla="*/ 72009 w 2661365"/>
              <a:gd name="connsiteY5" fmla="*/ 432139 h 432139"/>
              <a:gd name="connsiteX6" fmla="*/ 0 w 2661365"/>
              <a:gd name="connsiteY6" fmla="*/ 360130 h 432139"/>
              <a:gd name="connsiteX7" fmla="*/ 0 w 2661365"/>
              <a:gd name="connsiteY7" fmla="*/ 72100 h 432139"/>
              <a:gd name="connsiteX0" fmla="*/ 0 w 2598407"/>
              <a:gd name="connsiteY0" fmla="*/ 72109 h 432148"/>
              <a:gd name="connsiteX1" fmla="*/ 72009 w 2598407"/>
              <a:gd name="connsiteY1" fmla="*/ 100 h 432148"/>
              <a:gd name="connsiteX2" fmla="*/ 2088231 w 2598407"/>
              <a:gd name="connsiteY2" fmla="*/ 100 h 432148"/>
              <a:gd name="connsiteX3" fmla="*/ 2598407 w 2598407"/>
              <a:gd name="connsiteY3" fmla="*/ 220101 h 432148"/>
              <a:gd name="connsiteX4" fmla="*/ 2088231 w 2598407"/>
              <a:gd name="connsiteY4" fmla="*/ 432148 h 432148"/>
              <a:gd name="connsiteX5" fmla="*/ 72009 w 2598407"/>
              <a:gd name="connsiteY5" fmla="*/ 432148 h 432148"/>
              <a:gd name="connsiteX6" fmla="*/ 0 w 2598407"/>
              <a:gd name="connsiteY6" fmla="*/ 360139 h 432148"/>
              <a:gd name="connsiteX7" fmla="*/ 0 w 2598407"/>
              <a:gd name="connsiteY7" fmla="*/ 72109 h 432148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541"/>
              <a:gd name="connsiteY0" fmla="*/ 72121 h 432160"/>
              <a:gd name="connsiteX1" fmla="*/ 72009 w 2538541"/>
              <a:gd name="connsiteY1" fmla="*/ 112 h 432160"/>
              <a:gd name="connsiteX2" fmla="*/ 2088231 w 2538541"/>
              <a:gd name="connsiteY2" fmla="*/ 112 h 432160"/>
              <a:gd name="connsiteX3" fmla="*/ 2538446 w 2538541"/>
              <a:gd name="connsiteY3" fmla="*/ 196129 h 432160"/>
              <a:gd name="connsiteX4" fmla="*/ 2088231 w 2538541"/>
              <a:gd name="connsiteY4" fmla="*/ 432160 h 432160"/>
              <a:gd name="connsiteX5" fmla="*/ 72009 w 2538541"/>
              <a:gd name="connsiteY5" fmla="*/ 432160 h 432160"/>
              <a:gd name="connsiteX6" fmla="*/ 0 w 2538541"/>
              <a:gd name="connsiteY6" fmla="*/ 360151 h 432160"/>
              <a:gd name="connsiteX7" fmla="*/ 0 w 2538541"/>
              <a:gd name="connsiteY7" fmla="*/ 72121 h 432160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446"/>
              <a:gd name="connsiteY0" fmla="*/ 72121 h 432332"/>
              <a:gd name="connsiteX1" fmla="*/ 72009 w 2538446"/>
              <a:gd name="connsiteY1" fmla="*/ 112 h 432332"/>
              <a:gd name="connsiteX2" fmla="*/ 2088231 w 2538446"/>
              <a:gd name="connsiteY2" fmla="*/ 112 h 432332"/>
              <a:gd name="connsiteX3" fmla="*/ 2538446 w 2538446"/>
              <a:gd name="connsiteY3" fmla="*/ 196129 h 432332"/>
              <a:gd name="connsiteX4" fmla="*/ 2088231 w 2538446"/>
              <a:gd name="connsiteY4" fmla="*/ 432160 h 432332"/>
              <a:gd name="connsiteX5" fmla="*/ 72009 w 2538446"/>
              <a:gd name="connsiteY5" fmla="*/ 432160 h 432332"/>
              <a:gd name="connsiteX6" fmla="*/ 0 w 2538446"/>
              <a:gd name="connsiteY6" fmla="*/ 360151 h 432332"/>
              <a:gd name="connsiteX7" fmla="*/ 0 w 2538446"/>
              <a:gd name="connsiteY7" fmla="*/ 72121 h 432332"/>
              <a:gd name="connsiteX0" fmla="*/ 0 w 2538504"/>
              <a:gd name="connsiteY0" fmla="*/ 72117 h 432328"/>
              <a:gd name="connsiteX1" fmla="*/ 72009 w 2538504"/>
              <a:gd name="connsiteY1" fmla="*/ 108 h 432328"/>
              <a:gd name="connsiteX2" fmla="*/ 2088231 w 2538504"/>
              <a:gd name="connsiteY2" fmla="*/ 108 h 432328"/>
              <a:gd name="connsiteX3" fmla="*/ 2538446 w 2538504"/>
              <a:gd name="connsiteY3" fmla="*/ 196125 h 432328"/>
              <a:gd name="connsiteX4" fmla="*/ 2088231 w 2538504"/>
              <a:gd name="connsiteY4" fmla="*/ 432156 h 432328"/>
              <a:gd name="connsiteX5" fmla="*/ 72009 w 2538504"/>
              <a:gd name="connsiteY5" fmla="*/ 432156 h 432328"/>
              <a:gd name="connsiteX6" fmla="*/ 0 w 2538504"/>
              <a:gd name="connsiteY6" fmla="*/ 360147 h 432328"/>
              <a:gd name="connsiteX7" fmla="*/ 0 w 2538504"/>
              <a:gd name="connsiteY7" fmla="*/ 72117 h 432328"/>
              <a:gd name="connsiteX0" fmla="*/ 0 w 2538504"/>
              <a:gd name="connsiteY0" fmla="*/ 72111 h 432332"/>
              <a:gd name="connsiteX1" fmla="*/ 72009 w 2538504"/>
              <a:gd name="connsiteY1" fmla="*/ 102 h 432332"/>
              <a:gd name="connsiteX2" fmla="*/ 2088231 w 2538504"/>
              <a:gd name="connsiteY2" fmla="*/ 102 h 432332"/>
              <a:gd name="connsiteX3" fmla="*/ 2538446 w 2538504"/>
              <a:gd name="connsiteY3" fmla="*/ 210265 h 432332"/>
              <a:gd name="connsiteX4" fmla="*/ 2088231 w 2538504"/>
              <a:gd name="connsiteY4" fmla="*/ 432150 h 432332"/>
              <a:gd name="connsiteX5" fmla="*/ 72009 w 2538504"/>
              <a:gd name="connsiteY5" fmla="*/ 432150 h 432332"/>
              <a:gd name="connsiteX6" fmla="*/ 0 w 2538504"/>
              <a:gd name="connsiteY6" fmla="*/ 360141 h 432332"/>
              <a:gd name="connsiteX7" fmla="*/ 0 w 2538504"/>
              <a:gd name="connsiteY7" fmla="*/ 72111 h 432332"/>
              <a:gd name="connsiteX0" fmla="*/ 0 w 2538504"/>
              <a:gd name="connsiteY0" fmla="*/ 72111 h 432356"/>
              <a:gd name="connsiteX1" fmla="*/ 72009 w 2538504"/>
              <a:gd name="connsiteY1" fmla="*/ 102 h 432356"/>
              <a:gd name="connsiteX2" fmla="*/ 2088231 w 2538504"/>
              <a:gd name="connsiteY2" fmla="*/ 102 h 432356"/>
              <a:gd name="connsiteX3" fmla="*/ 2538446 w 2538504"/>
              <a:gd name="connsiteY3" fmla="*/ 210265 h 432356"/>
              <a:gd name="connsiteX4" fmla="*/ 2088231 w 2538504"/>
              <a:gd name="connsiteY4" fmla="*/ 432150 h 432356"/>
              <a:gd name="connsiteX5" fmla="*/ 72009 w 2538504"/>
              <a:gd name="connsiteY5" fmla="*/ 432150 h 432356"/>
              <a:gd name="connsiteX6" fmla="*/ 0 w 2538504"/>
              <a:gd name="connsiteY6" fmla="*/ 360141 h 432356"/>
              <a:gd name="connsiteX7" fmla="*/ 0 w 2538504"/>
              <a:gd name="connsiteY7" fmla="*/ 72111 h 432356"/>
              <a:gd name="connsiteX0" fmla="*/ 0 w 2538446"/>
              <a:gd name="connsiteY0" fmla="*/ 73192 h 433437"/>
              <a:gd name="connsiteX1" fmla="*/ 72009 w 2538446"/>
              <a:gd name="connsiteY1" fmla="*/ 1183 h 433437"/>
              <a:gd name="connsiteX2" fmla="*/ 2088231 w 2538446"/>
              <a:gd name="connsiteY2" fmla="*/ 1183 h 433437"/>
              <a:gd name="connsiteX3" fmla="*/ 2538446 w 2538446"/>
              <a:gd name="connsiteY3" fmla="*/ 211346 h 433437"/>
              <a:gd name="connsiteX4" fmla="*/ 2088231 w 2538446"/>
              <a:gd name="connsiteY4" fmla="*/ 433231 h 433437"/>
              <a:gd name="connsiteX5" fmla="*/ 72009 w 2538446"/>
              <a:gd name="connsiteY5" fmla="*/ 433231 h 433437"/>
              <a:gd name="connsiteX6" fmla="*/ 0 w 2538446"/>
              <a:gd name="connsiteY6" fmla="*/ 361222 h 433437"/>
              <a:gd name="connsiteX7" fmla="*/ 0 w 2538446"/>
              <a:gd name="connsiteY7" fmla="*/ 73192 h 433437"/>
              <a:gd name="connsiteX0" fmla="*/ 0 w 2538446"/>
              <a:gd name="connsiteY0" fmla="*/ 73004 h 433249"/>
              <a:gd name="connsiteX1" fmla="*/ 72009 w 2538446"/>
              <a:gd name="connsiteY1" fmla="*/ 995 h 433249"/>
              <a:gd name="connsiteX2" fmla="*/ 2088231 w 2538446"/>
              <a:gd name="connsiteY2" fmla="*/ 995 h 433249"/>
              <a:gd name="connsiteX3" fmla="*/ 2538446 w 2538446"/>
              <a:gd name="connsiteY3" fmla="*/ 211158 h 433249"/>
              <a:gd name="connsiteX4" fmla="*/ 2088231 w 2538446"/>
              <a:gd name="connsiteY4" fmla="*/ 433043 h 433249"/>
              <a:gd name="connsiteX5" fmla="*/ 72009 w 2538446"/>
              <a:gd name="connsiteY5" fmla="*/ 433043 h 433249"/>
              <a:gd name="connsiteX6" fmla="*/ 0 w 2538446"/>
              <a:gd name="connsiteY6" fmla="*/ 361034 h 433249"/>
              <a:gd name="connsiteX7" fmla="*/ 0 w 2538446"/>
              <a:gd name="connsiteY7" fmla="*/ 73004 h 433249"/>
              <a:gd name="connsiteX0" fmla="*/ 0 w 2538446"/>
              <a:gd name="connsiteY0" fmla="*/ 73004 h 434912"/>
              <a:gd name="connsiteX1" fmla="*/ 72009 w 2538446"/>
              <a:gd name="connsiteY1" fmla="*/ 995 h 434912"/>
              <a:gd name="connsiteX2" fmla="*/ 2088231 w 2538446"/>
              <a:gd name="connsiteY2" fmla="*/ 995 h 434912"/>
              <a:gd name="connsiteX3" fmla="*/ 2538446 w 2538446"/>
              <a:gd name="connsiteY3" fmla="*/ 211158 h 434912"/>
              <a:gd name="connsiteX4" fmla="*/ 2088231 w 2538446"/>
              <a:gd name="connsiteY4" fmla="*/ 433043 h 434912"/>
              <a:gd name="connsiteX5" fmla="*/ 72009 w 2538446"/>
              <a:gd name="connsiteY5" fmla="*/ 433043 h 434912"/>
              <a:gd name="connsiteX6" fmla="*/ 0 w 2538446"/>
              <a:gd name="connsiteY6" fmla="*/ 361034 h 434912"/>
              <a:gd name="connsiteX7" fmla="*/ 0 w 2538446"/>
              <a:gd name="connsiteY7" fmla="*/ 73004 h 434912"/>
              <a:gd name="connsiteX0" fmla="*/ 0 w 2538446"/>
              <a:gd name="connsiteY0" fmla="*/ 73195 h 435103"/>
              <a:gd name="connsiteX1" fmla="*/ 72009 w 2538446"/>
              <a:gd name="connsiteY1" fmla="*/ 1186 h 435103"/>
              <a:gd name="connsiteX2" fmla="*/ 2088231 w 2538446"/>
              <a:gd name="connsiteY2" fmla="*/ 1186 h 435103"/>
              <a:gd name="connsiteX3" fmla="*/ 2538446 w 2538446"/>
              <a:gd name="connsiteY3" fmla="*/ 211349 h 435103"/>
              <a:gd name="connsiteX4" fmla="*/ 2088231 w 2538446"/>
              <a:gd name="connsiteY4" fmla="*/ 433234 h 435103"/>
              <a:gd name="connsiteX5" fmla="*/ 72009 w 2538446"/>
              <a:gd name="connsiteY5" fmla="*/ 433234 h 435103"/>
              <a:gd name="connsiteX6" fmla="*/ 0 w 2538446"/>
              <a:gd name="connsiteY6" fmla="*/ 361225 h 435103"/>
              <a:gd name="connsiteX7" fmla="*/ 0 w 2538446"/>
              <a:gd name="connsiteY7" fmla="*/ 73195 h 435103"/>
              <a:gd name="connsiteX0" fmla="*/ 0 w 2538459"/>
              <a:gd name="connsiteY0" fmla="*/ 72009 h 433917"/>
              <a:gd name="connsiteX1" fmla="*/ 72009 w 2538459"/>
              <a:gd name="connsiteY1" fmla="*/ 0 h 433917"/>
              <a:gd name="connsiteX2" fmla="*/ 2088231 w 2538459"/>
              <a:gd name="connsiteY2" fmla="*/ 0 h 433917"/>
              <a:gd name="connsiteX3" fmla="*/ 2316843 w 2538459"/>
              <a:gd name="connsiteY3" fmla="*/ 64721 h 433917"/>
              <a:gd name="connsiteX4" fmla="*/ 2538446 w 2538459"/>
              <a:gd name="connsiteY4" fmla="*/ 210163 h 433917"/>
              <a:gd name="connsiteX5" fmla="*/ 2088231 w 2538459"/>
              <a:gd name="connsiteY5" fmla="*/ 432048 h 433917"/>
              <a:gd name="connsiteX6" fmla="*/ 72009 w 2538459"/>
              <a:gd name="connsiteY6" fmla="*/ 432048 h 433917"/>
              <a:gd name="connsiteX7" fmla="*/ 0 w 2538459"/>
              <a:gd name="connsiteY7" fmla="*/ 360039 h 433917"/>
              <a:gd name="connsiteX8" fmla="*/ 0 w 2538459"/>
              <a:gd name="connsiteY8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2048"/>
              <a:gd name="connsiteX1" fmla="*/ 72009 w 2538446"/>
              <a:gd name="connsiteY1" fmla="*/ 0 h 432048"/>
              <a:gd name="connsiteX2" fmla="*/ 2088231 w 2538446"/>
              <a:gd name="connsiteY2" fmla="*/ 0 h 432048"/>
              <a:gd name="connsiteX3" fmla="*/ 2538446 w 2538446"/>
              <a:gd name="connsiteY3" fmla="*/ 210163 h 432048"/>
              <a:gd name="connsiteX4" fmla="*/ 2088231 w 2538446"/>
              <a:gd name="connsiteY4" fmla="*/ 432048 h 432048"/>
              <a:gd name="connsiteX5" fmla="*/ 72009 w 2538446"/>
              <a:gd name="connsiteY5" fmla="*/ 432048 h 432048"/>
              <a:gd name="connsiteX6" fmla="*/ 0 w 2538446"/>
              <a:gd name="connsiteY6" fmla="*/ 360039 h 432048"/>
              <a:gd name="connsiteX7" fmla="*/ 0 w 2538446"/>
              <a:gd name="connsiteY7" fmla="*/ 72009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38446" h="432048">
                <a:moveTo>
                  <a:pt x="0" y="72009"/>
                </a:moveTo>
                <a:cubicBezTo>
                  <a:pt x="0" y="32240"/>
                  <a:pt x="32240" y="0"/>
                  <a:pt x="72009" y="0"/>
                </a:cubicBezTo>
                <a:lnTo>
                  <a:pt x="2088231" y="0"/>
                </a:lnTo>
                <a:cubicBezTo>
                  <a:pt x="2084302" y="127"/>
                  <a:pt x="2427316" y="155605"/>
                  <a:pt x="2538446" y="210163"/>
                </a:cubicBezTo>
                <a:lnTo>
                  <a:pt x="2088231" y="432048"/>
                </a:lnTo>
                <a:lnTo>
                  <a:pt x="72009" y="432048"/>
                </a:lnTo>
                <a:cubicBezTo>
                  <a:pt x="32240" y="432048"/>
                  <a:pt x="0" y="399808"/>
                  <a:pt x="0" y="360039"/>
                </a:cubicBezTo>
                <a:lnTo>
                  <a:pt x="0" y="72009"/>
                </a:lnTo>
                <a:close/>
              </a:path>
            </a:pathLst>
          </a:custGeom>
          <a:solidFill>
            <a:srgbClr val="009999"/>
          </a:solidFill>
          <a:ln w="508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7" name="6 CuadroTexto">
            <a:extLst>
              <a:ext uri="{FF2B5EF4-FFF2-40B4-BE49-F238E27FC236}">
                <a16:creationId xmlns:a16="http://schemas.microsoft.com/office/drawing/2014/main" id="{05B04F11-E6C7-41AF-8321-FCBED2547496}"/>
              </a:ext>
            </a:extLst>
          </p:cNvPr>
          <p:cNvSpPr txBox="1"/>
          <p:nvPr/>
        </p:nvSpPr>
        <p:spPr bwMode="auto">
          <a:xfrm>
            <a:off x="287867" y="2081725"/>
            <a:ext cx="2260601" cy="1077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1" hangingPunct="1">
              <a:defRPr/>
            </a:pPr>
            <a:r>
              <a:rPr lang="es-ES" sz="2133" b="1" dirty="0">
                <a:latin typeface="Calibri" panose="020F0502020204030204" pitchFamily="34" charset="0"/>
                <a:cs typeface="Calibri" panose="020F0502020204030204" pitchFamily="34" charset="0"/>
              </a:rPr>
              <a:t>INCORPORACIÓN O RENUNCIA AL ACUERDO</a:t>
            </a:r>
            <a:endParaRPr lang="es-ES" sz="2133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Rectángulo">
            <a:extLst>
              <a:ext uri="{FF2B5EF4-FFF2-40B4-BE49-F238E27FC236}">
                <a16:creationId xmlns:a16="http://schemas.microsoft.com/office/drawing/2014/main" id="{3D104495-CF13-4A4B-8FE7-1DC47C1B18D1}"/>
              </a:ext>
            </a:extLst>
          </p:cNvPr>
          <p:cNvSpPr/>
          <p:nvPr/>
        </p:nvSpPr>
        <p:spPr>
          <a:xfrm>
            <a:off x="2916768" y="1090084"/>
            <a:ext cx="8727017" cy="489364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hangingPunct="1">
              <a:defRPr/>
            </a:pPr>
            <a:endParaRPr lang="es-ES" sz="2400" dirty="0"/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es-ES" sz="2400" dirty="0"/>
              <a:t>El acuerdo es un documento vivo, que estará en permanente revisión en función de las necesidades que se vayan detectando para garantizar la seguridad de los trabajadores del sector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s-ES" sz="2400" dirty="0"/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es-ES" sz="2400" dirty="0"/>
              <a:t>Al acuerdo se podrán sumar nuevos operadores o suministradores. Para hacerlo es suficiente con manifestar por escrito su interés en adherirse  y firmar el acuerdo.</a:t>
            </a:r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endParaRPr lang="es-ES" sz="2400" dirty="0"/>
          </a:p>
          <a:p>
            <a:pPr marL="342900" indent="-342900" algn="just">
              <a:buFont typeface="Arial" panose="020B0604020202020204" pitchFamily="34" charset="0"/>
              <a:buChar char="•"/>
              <a:defRPr/>
            </a:pPr>
            <a:r>
              <a:rPr lang="es-ES" sz="2400" dirty="0"/>
              <a:t>En caso de renunciar al acuerdo, se deberá realizar en todo caso por escrito. </a:t>
            </a:r>
          </a:p>
          <a:p>
            <a:pPr algn="just">
              <a:defRPr/>
            </a:pPr>
            <a:endParaRPr lang="es-ES" sz="2400" dirty="0"/>
          </a:p>
          <a:p>
            <a:pPr algn="just" eaLnBrk="1" hangingPunct="1">
              <a:defRPr/>
            </a:pPr>
            <a:endParaRPr lang="es-ES" sz="2400" dirty="0"/>
          </a:p>
        </p:txBody>
      </p:sp>
      <p:sp>
        <p:nvSpPr>
          <p:cNvPr id="22533" name="1 Título">
            <a:extLst>
              <a:ext uri="{FF2B5EF4-FFF2-40B4-BE49-F238E27FC236}">
                <a16:creationId xmlns:a16="http://schemas.microsoft.com/office/drawing/2014/main" id="{00C03971-6625-4006-9774-65CA40864CA7}"/>
              </a:ext>
            </a:extLst>
          </p:cNvPr>
          <p:cNvSpPr txBox="1">
            <a:spLocks/>
          </p:cNvSpPr>
          <p:nvPr/>
        </p:nvSpPr>
        <p:spPr bwMode="auto">
          <a:xfrm>
            <a:off x="287867" y="63144"/>
            <a:ext cx="11904133" cy="1109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 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 Formación:</a:t>
            </a:r>
          </a:p>
        </p:txBody>
      </p:sp>
      <p:pic>
        <p:nvPicPr>
          <p:cNvPr id="8" name="2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07" y="3814109"/>
            <a:ext cx="2481061" cy="17963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9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26E0BFB-CDF1-4990-8C11-AC849311E0A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69A1F8-9BEB-4786-9694-FC48B2D75D2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788244" y="0"/>
            <a:ext cx="9403756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0000">
                <a:schemeClr val="bg1">
                  <a:alpha val="64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DE22698D-5C54-034B-A7AE-3ABC746238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010144" y="2562383"/>
            <a:ext cx="4023360" cy="2214107"/>
          </a:xfrm>
        </p:spPr>
        <p:txBody>
          <a:bodyPr anchor="b">
            <a:normAutofit/>
          </a:bodyPr>
          <a:lstStyle/>
          <a:p>
            <a:pPr algn="l"/>
            <a:r>
              <a:rPr lang="es-ES" sz="9600" dirty="0" smtClean="0"/>
              <a:t>Gracias</a:t>
            </a:r>
            <a:endParaRPr lang="es-ES" sz="96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130540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51648" y="4546920"/>
            <a:ext cx="4023360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7851648" y="406400"/>
            <a:ext cx="1611666" cy="679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17821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65"/>
          <p:cNvSpPr txBox="1">
            <a:spLocks noGrp="1"/>
          </p:cNvSpPr>
          <p:nvPr>
            <p:ph type="dt" idx="4294967295"/>
          </p:nvPr>
        </p:nvSpPr>
        <p:spPr>
          <a:xfrm>
            <a:off x="319480" y="529097"/>
            <a:ext cx="7044449" cy="365099"/>
          </a:xfrm>
          <a:prstGeom prst="rect">
            <a:avLst/>
          </a:prstGeom>
          <a:noFill/>
          <a:ln>
            <a:noFill/>
          </a:ln>
        </p:spPr>
        <p:txBody>
          <a:bodyPr lIns="121900" tIns="121900" rIns="121900" bIns="121900" anchor="ctr" anchorCtr="0"/>
          <a:lstStyle>
            <a:lvl1pPr marL="0" marR="0" lvl="0" indent="0" algn="l" rtl="0">
              <a:spcBef>
                <a:spcPts val="0"/>
              </a:spcBef>
              <a:buNone/>
              <a:defRPr sz="16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09585" marR="0" lvl="1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219170" marR="0" lvl="2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754" marR="0" lvl="3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438339" marR="0" lvl="4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47924" marR="0" lvl="5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657509" marR="0" lvl="6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267093" marR="0" lvl="7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876678" marR="0" lvl="8" indent="0" algn="l" rtl="0">
              <a:spcBef>
                <a:spcPts val="0"/>
              </a:spcBef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Fuente: Comisión</a:t>
            </a:r>
            <a:r>
              <a:rPr kumimoji="0" lang="es-ES_tradnl" sz="1600" b="0" i="0" u="none" strike="noStrike" kern="0" cap="none" spc="0" normalizeH="0" noProof="0" dirty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</a:t>
            </a:r>
            <a:r>
              <a:rPr kumimoji="0" lang="es-ES_tradnl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Nacional de los Mercados</a:t>
            </a:r>
            <a:r>
              <a:rPr kumimoji="0" lang="es-ES_tradnl" sz="1600" b="0" i="0" u="none" strike="noStrike" kern="0" cap="none" spc="0" normalizeH="0" noProof="0" dirty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 y la Competencia</a:t>
            </a:r>
            <a:endParaRPr kumimoji="0" lang="es-ES_tradnl" sz="16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pSp>
        <p:nvGrpSpPr>
          <p:cNvPr id="10" name="Group 5"/>
          <p:cNvGrpSpPr/>
          <p:nvPr/>
        </p:nvGrpSpPr>
        <p:grpSpPr>
          <a:xfrm>
            <a:off x="468926" y="1091041"/>
            <a:ext cx="2414953" cy="533400"/>
            <a:chOff x="381000" y="1600200"/>
            <a:chExt cx="9144600" cy="533400"/>
          </a:xfrm>
        </p:grpSpPr>
        <p:sp>
          <p:nvSpPr>
            <p:cNvPr id="11" name="Text Placeholder 38"/>
            <p:cNvSpPr txBox="1">
              <a:spLocks/>
            </p:cNvSpPr>
            <p:nvPr/>
          </p:nvSpPr>
          <p:spPr>
            <a:xfrm>
              <a:off x="381000" y="1600200"/>
              <a:ext cx="9144000" cy="532800"/>
            </a:xfrm>
            <a:prstGeom prst="rect">
              <a:avLst/>
            </a:prstGeom>
          </p:spPr>
          <p:txBody>
            <a:bodyPr lIns="0" tIns="120000" rIns="0" bIns="120000" anchor="ctr" anchorCtr="0"/>
            <a:lstStyle>
              <a:lvl1pPr marL="0" indent="0" algn="l" defTabSz="914400" rtl="0" eaLnBrk="1" latinLnBrk="0" hangingPunct="1">
                <a:spcBef>
                  <a:spcPts val="1500"/>
                </a:spcBef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1pPr>
              <a:lvl2pPr marL="270000" indent="-268288" algn="l" defTabSz="914400" rtl="0" eaLnBrk="1" latinLnBrk="0" hangingPunct="1">
                <a:spcBef>
                  <a:spcPts val="1000"/>
                </a:spcBef>
                <a:buClr>
                  <a:schemeClr val="accent1"/>
                </a:buClr>
                <a:buFont typeface="Wingdings" pitchFamily="2" charset="2"/>
                <a:buChar char="n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2pPr>
              <a:lvl3pPr marL="540000" indent="-268288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3pPr>
              <a:lvl4pPr marL="810000" indent="-27000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4pPr>
              <a:lvl5pPr marL="810000" indent="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 pitchFamily="34" charset="0"/>
                </a:rPr>
                <a:t>Consumidor final</a:t>
              </a:r>
            </a:p>
          </p:txBody>
        </p:sp>
        <p:cxnSp>
          <p:nvCxnSpPr>
            <p:cNvPr id="12" name="Connecteur droit 11"/>
            <p:cNvCxnSpPr/>
            <p:nvPr/>
          </p:nvCxnSpPr>
          <p:spPr>
            <a:xfrm>
              <a:off x="381601" y="2133600"/>
              <a:ext cx="9143999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13" name="Group 31"/>
          <p:cNvGrpSpPr/>
          <p:nvPr/>
        </p:nvGrpSpPr>
        <p:grpSpPr>
          <a:xfrm>
            <a:off x="675562" y="2306499"/>
            <a:ext cx="1690289" cy="1054438"/>
            <a:chOff x="809882" y="2245112"/>
            <a:chExt cx="1112372" cy="859673"/>
          </a:xfrm>
        </p:grpSpPr>
        <p:pic>
          <p:nvPicPr>
            <p:cNvPr id="17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20567372" flipH="1">
              <a:off x="850148" y="2313441"/>
              <a:ext cx="106398" cy="16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676165">
              <a:off x="1499681" y="2304405"/>
              <a:ext cx="91725" cy="140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676165">
              <a:off x="1323358" y="2548937"/>
              <a:ext cx="91725" cy="140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676165">
              <a:off x="1078330" y="2722279"/>
              <a:ext cx="91725" cy="1403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20567372" flipH="1">
              <a:off x="1058053" y="2286792"/>
              <a:ext cx="106398" cy="16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20567372" flipH="1">
              <a:off x="1544375" y="2767235"/>
              <a:ext cx="106398" cy="16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20567372" flipH="1">
              <a:off x="1627601" y="2465826"/>
              <a:ext cx="106398" cy="16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7" descr="http://www.redgesam.cl/wp/wp-content/uploads/2015/08/facebook-img.png"/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882" y="2339993"/>
              <a:ext cx="66504" cy="66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7" descr="http://www.redgesam.cl/wp/wp-content/uploads/2015/08/facebook-img.png"/>
            <p:cNvPicPr>
              <a:picLocks noChangeAspect="1" noChangeArrowheads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5223" y="2492393"/>
              <a:ext cx="66504" cy="66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2" descr="https://www.youtube.com/yt/brand/media/image/YouTube-logo-full_color.png"/>
            <p:cNvPicPr>
              <a:picLocks noChangeAspect="1" noChangeArrowheads="1"/>
            </p:cNvPicPr>
            <p:nvPr/>
          </p:nvPicPr>
          <p:blipFill>
            <a:blip r:embed="rId1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5489" y="2250986"/>
              <a:ext cx="121388" cy="754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38" descr="http://www.gratisdescargarfacebook.com/wp-content/uploads/2016/01/ee.png"/>
            <p:cNvPicPr>
              <a:picLocks noChangeAspect="1" noChangeArrowheads="1"/>
            </p:cNvPicPr>
            <p:nvPr/>
          </p:nvPicPr>
          <p:blipFill>
            <a:blip r:embed="rId1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4924" y="2323842"/>
              <a:ext cx="129342" cy="45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1726401" y="2487692"/>
              <a:ext cx="195853" cy="359730"/>
            </a:xfrm>
            <a:prstGeom prst="rect">
              <a:avLst/>
            </a:prstGeom>
          </p:spPr>
        </p:pic>
        <p:pic>
          <p:nvPicPr>
            <p:cNvPr id="33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1388920" y="2327628"/>
              <a:ext cx="195853" cy="359730"/>
            </a:xfrm>
            <a:prstGeom prst="rect">
              <a:avLst/>
            </a:prstGeom>
          </p:spPr>
        </p:pic>
        <p:pic>
          <p:nvPicPr>
            <p:cNvPr id="34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1188531" y="2592655"/>
              <a:ext cx="195853" cy="359730"/>
            </a:xfrm>
            <a:prstGeom prst="rect">
              <a:avLst/>
            </a:prstGeom>
          </p:spPr>
        </p:pic>
        <p:pic>
          <p:nvPicPr>
            <p:cNvPr id="35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1386651" y="2745055"/>
              <a:ext cx="195853" cy="359730"/>
            </a:xfrm>
            <a:prstGeom prst="rect">
              <a:avLst/>
            </a:prstGeom>
          </p:spPr>
        </p:pic>
        <p:pic>
          <p:nvPicPr>
            <p:cNvPr id="36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932584" y="2736576"/>
              <a:ext cx="195853" cy="359730"/>
            </a:xfrm>
            <a:prstGeom prst="rect">
              <a:avLst/>
            </a:prstGeom>
          </p:spPr>
        </p:pic>
        <p:pic>
          <p:nvPicPr>
            <p:cNvPr id="37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880330" y="2345734"/>
              <a:ext cx="195853" cy="359730"/>
            </a:xfrm>
            <a:prstGeom prst="rect">
              <a:avLst/>
            </a:prstGeom>
          </p:spPr>
        </p:pic>
        <p:pic>
          <p:nvPicPr>
            <p:cNvPr id="38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0000"/>
            <a:stretch/>
          </p:blipFill>
          <p:spPr>
            <a:xfrm>
              <a:off x="1114671" y="2245112"/>
              <a:ext cx="195853" cy="359730"/>
            </a:xfrm>
            <a:prstGeom prst="rect">
              <a:avLst/>
            </a:prstGeom>
          </p:spPr>
        </p:pic>
      </p:grpSp>
      <p:sp>
        <p:nvSpPr>
          <p:cNvPr id="39" name="KMA1D1FEAF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3065" y="3350757"/>
            <a:ext cx="2182844" cy="65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8687" tIns="59095" rIns="58687" bIns="59095" anchor="ctr">
            <a:spAutoFit/>
          </a:bodyPr>
          <a:lstStyle>
            <a:lvl1pPr defTabSz="881063" eaLnBrk="0" hangingPunct="0">
              <a:spcBef>
                <a:spcPts val="1500"/>
              </a:spcBef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1063" eaLnBrk="0" hangingPunct="0">
              <a:spcBef>
                <a:spcPts val="1000"/>
              </a:spcBef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43411" marR="0" lvl="1" indent="-241294" algn="l" defTabSz="1200121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altLang="en-US" sz="1867" b="1" i="0" u="none" strike="noStrike" kern="1200" cap="none" spc="0" normalizeH="0" baseline="0" noProof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Eurostile" pitchFamily="34" charset="0"/>
                <a:ea typeface="+mn-ea"/>
                <a:cs typeface="+mn-cs"/>
              </a:rPr>
              <a:t>55</a:t>
            </a:r>
            <a:r>
              <a:rPr kumimoji="0" lang="en-US" altLang="en-US" sz="1867" b="1" i="0" u="none" strike="noStrike" kern="1200" cap="none" spc="0" normalizeH="0" baseline="0" noProof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</a:t>
            </a:r>
            <a:r>
              <a:rPr kumimoji="0" lang="en-US" altLang="en-US" sz="1867" b="1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millones </a:t>
            </a:r>
            <a:r>
              <a:rPr kumimoji="0" lang="en-US" altLang="en-US" sz="1600" b="0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de líneas móviles</a:t>
            </a:r>
          </a:p>
        </p:txBody>
      </p:sp>
      <p:grpSp>
        <p:nvGrpSpPr>
          <p:cNvPr id="40" name="Group 64"/>
          <p:cNvGrpSpPr/>
          <p:nvPr/>
        </p:nvGrpSpPr>
        <p:grpSpPr>
          <a:xfrm>
            <a:off x="671871" y="4714747"/>
            <a:ext cx="1433852" cy="939283"/>
            <a:chOff x="677933" y="4522791"/>
            <a:chExt cx="1116693" cy="775723"/>
          </a:xfrm>
        </p:grpSpPr>
        <p:pic>
          <p:nvPicPr>
            <p:cNvPr id="41" name="Image 37"/>
            <p:cNvPicPr>
              <a:picLocks noChangeAspect="1"/>
            </p:cNvPicPr>
            <p:nvPr/>
          </p:nvPicPr>
          <p:blipFill rotWithShape="1">
            <a:blip r:embed="rId19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52900"/>
            <a:stretch/>
          </p:blipFill>
          <p:spPr>
            <a:xfrm>
              <a:off x="1106161" y="4667591"/>
              <a:ext cx="297127" cy="579348"/>
            </a:xfrm>
            <a:prstGeom prst="rect">
              <a:avLst/>
            </a:prstGeom>
          </p:spPr>
        </p:pic>
        <p:pic>
          <p:nvPicPr>
            <p:cNvPr id="42" name="Image 10"/>
            <p:cNvPicPr>
              <a:picLocks noChangeAspect="1"/>
            </p:cNvPicPr>
            <p:nvPr/>
          </p:nvPicPr>
          <p:blipFill>
            <a:blip r:embed="rId20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4941" y="4522791"/>
              <a:ext cx="419685" cy="359730"/>
            </a:xfrm>
            <a:prstGeom prst="rect">
              <a:avLst/>
            </a:prstGeom>
          </p:spPr>
        </p:pic>
        <p:pic>
          <p:nvPicPr>
            <p:cNvPr id="43" name="Picture 49" descr="https://upload.wikimedia.org/wikipedia/commons/9/99/AppleTV.png"/>
            <p:cNvPicPr>
              <a:picLocks noChangeAspect="1" noChangeArrowheads="1"/>
            </p:cNvPicPr>
            <p:nvPr/>
          </p:nvPicPr>
          <p:blipFill>
            <a:blip r:embed="rId21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1198" y="4661157"/>
              <a:ext cx="125187" cy="667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14" descr="http://4.bp.blogspot.com/-VvxoanyyHf0/VhwUphxVKLI/AAAAAAAAEqg/ILVa6uups8k/s1600/netflix.png"/>
            <p:cNvPicPr>
              <a:picLocks noChangeAspect="1" noChangeArrowheads="1"/>
            </p:cNvPicPr>
            <p:nvPr/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0290" y="4583997"/>
              <a:ext cx="144724" cy="868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Image 12"/>
            <p:cNvPicPr>
              <a:picLocks noChangeAspect="1"/>
            </p:cNvPicPr>
            <p:nvPr/>
          </p:nvPicPr>
          <p:blipFill>
            <a:blip r:embed="rId23" cstate="screen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7933" y="4528552"/>
              <a:ext cx="435273" cy="299251"/>
            </a:xfrm>
            <a:prstGeom prst="rect">
              <a:avLst/>
            </a:prstGeom>
          </p:spPr>
        </p:pic>
        <p:pic>
          <p:nvPicPr>
            <p:cNvPr id="46" name="Picture 53" descr="https://skypeblogs.files.wordpress.com/2013/09/skype-logo-feb_2012_rgb_500.png?w=300"/>
            <p:cNvPicPr>
              <a:picLocks noChangeAspect="1" noChangeArrowheads="1"/>
            </p:cNvPicPr>
            <p:nvPr/>
          </p:nvPicPr>
          <p:blipFill>
            <a:blip r:embed="rId24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945" y="4595937"/>
              <a:ext cx="109903" cy="48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44" descr="http://static1.businessinsider.com/image/539f3ffbecad044276726c01-960/amazon-com-logo.jpg"/>
            <p:cNvPicPr>
              <a:picLocks noChangeAspect="1" noChangeArrowheads="1"/>
            </p:cNvPicPr>
            <p:nvPr/>
          </p:nvPicPr>
          <p:blipFill>
            <a:blip r:embed="rId2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520" y="4675722"/>
              <a:ext cx="109100" cy="39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12" descr="C:\Users\MORA10~1\AppData\Local\Temp\noun_308401_cc.png"/>
            <p:cNvPicPr>
              <a:picLocks noChangeAspect="1" noChangeArrowheads="1"/>
            </p:cNvPicPr>
            <p:nvPr/>
          </p:nvPicPr>
          <p:blipFill rotWithShape="1">
            <a:blip r:embed="rId2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3" t="6873" r="26543" b="21322"/>
            <a:stretch/>
          </p:blipFill>
          <p:spPr bwMode="auto">
            <a:xfrm rot="20044635">
              <a:off x="935138" y="4901397"/>
              <a:ext cx="144200" cy="214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9" name="Group 62"/>
            <p:cNvGrpSpPr/>
            <p:nvPr/>
          </p:nvGrpSpPr>
          <p:grpSpPr>
            <a:xfrm>
              <a:off x="1463163" y="4974069"/>
              <a:ext cx="265682" cy="324445"/>
              <a:chOff x="3248366" y="4944859"/>
              <a:chExt cx="517737" cy="574775"/>
            </a:xfrm>
            <a:solidFill>
              <a:schemeClr val="bg1"/>
            </a:solidFill>
          </p:grpSpPr>
          <p:pic>
            <p:nvPicPr>
              <p:cNvPr id="51" name="Image 154"/>
              <p:cNvPicPr>
                <a:picLocks noChangeAspect="1"/>
              </p:cNvPicPr>
              <p:nvPr/>
            </p:nvPicPr>
            <p:blipFill>
              <a:blip r:embed="rId27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48366" y="4944859"/>
                <a:ext cx="517737" cy="574775"/>
              </a:xfrm>
              <a:prstGeom prst="rect">
                <a:avLst/>
              </a:prstGeom>
              <a:grpFill/>
            </p:spPr>
          </p:pic>
          <p:sp>
            <p:nvSpPr>
              <p:cNvPr id="52" name="Rectangle 60"/>
              <p:cNvSpPr/>
              <p:nvPr/>
            </p:nvSpPr>
            <p:spPr>
              <a:xfrm>
                <a:off x="3305175" y="5008505"/>
                <a:ext cx="282575" cy="173095"/>
              </a:xfrm>
              <a:prstGeom prst="rect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120000" rIns="121920" bIns="120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75 Bold"/>
                  <a:ea typeface="+mn-ea"/>
                  <a:cs typeface="+mn-cs"/>
                </a:endParaRPr>
              </a:p>
            </p:txBody>
          </p:sp>
          <p:sp>
            <p:nvSpPr>
              <p:cNvPr id="53" name="Rectangle 61"/>
              <p:cNvSpPr/>
              <p:nvPr/>
            </p:nvSpPr>
            <p:spPr>
              <a:xfrm>
                <a:off x="3305175" y="5168077"/>
                <a:ext cx="171450" cy="173095"/>
              </a:xfrm>
              <a:prstGeom prst="rect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21920" tIns="120000" rIns="121920" bIns="120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elvetica 75 Bold"/>
                  <a:ea typeface="+mn-ea"/>
                  <a:cs typeface="+mn-cs"/>
                </a:endParaRPr>
              </a:p>
            </p:txBody>
          </p:sp>
        </p:grpSp>
        <p:pic>
          <p:nvPicPr>
            <p:cNvPr id="50" name="Picture 36" descr="http://www.zuliapordentro.com/wp-content/uploads/2016/02/new-google-logo.jpg"/>
            <p:cNvPicPr>
              <a:picLocks noChangeAspect="1" noChangeArrowheads="1"/>
            </p:cNvPicPr>
            <p:nvPr/>
          </p:nvPicPr>
          <p:blipFill rotWithShape="1">
            <a:blip r:embed="rId2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736" b="22736"/>
            <a:stretch/>
          </p:blipFill>
          <p:spPr bwMode="auto">
            <a:xfrm>
              <a:off x="1483863" y="5012430"/>
              <a:ext cx="162289" cy="48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KMA1D1FEAF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9121" y="5634558"/>
            <a:ext cx="2628091" cy="850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8687" tIns="59095" rIns="58687" bIns="59095" anchor="ctr">
            <a:spAutoFit/>
          </a:bodyPr>
          <a:lstStyle>
            <a:lvl1pPr defTabSz="881063" eaLnBrk="0" hangingPunct="0">
              <a:spcBef>
                <a:spcPts val="1500"/>
              </a:spcBef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1063" eaLnBrk="0" hangingPunct="0">
              <a:spcBef>
                <a:spcPts val="1000"/>
              </a:spcBef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43411" marR="0" lvl="1" indent="-241294" algn="l" defTabSz="1200121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n-US" altLang="en-US" sz="1867" b="1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16 millones </a:t>
            </a:r>
            <a:r>
              <a:rPr kumimoji="0" lang="en-US" altLang="en-US" sz="1600" b="0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de líneas de banda ancha fija.</a:t>
            </a:r>
          </a:p>
          <a:p>
            <a:pPr marL="2117" marR="0" lvl="1" indent="0" algn="l" defTabSz="1200121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   (+</a:t>
            </a:r>
            <a:r>
              <a:rPr kumimoji="0" lang="en-US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3,5% </a:t>
            </a:r>
            <a:r>
              <a:rPr kumimoji="0" lang="en-US" altLang="en-US" sz="1200" b="0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en últimos 12 </a:t>
            </a:r>
            <a:r>
              <a:rPr kumimoji="0" lang="en-US" altLang="en-US" sz="1200" b="0" i="0" u="none" strike="noStrike" kern="1200" cap="none" spc="0" normalizeH="0" baseline="0" noProof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meses</a:t>
            </a:r>
            <a:r>
              <a:rPr kumimoji="0" lang="en-US" altLang="en-US" sz="1200" b="0" i="0" u="none" strike="noStrike" kern="1200" cap="none" spc="0" normalizeH="0" baseline="0" noProof="1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) </a:t>
            </a:r>
            <a:endParaRPr kumimoji="0" lang="en-US" altLang="en-US" sz="1200" b="1" i="0" u="none" strike="noStrike" kern="1200" cap="none" spc="0" normalizeH="0" baseline="0" noProof="1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55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2738956" y="2745253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2738956" y="3381290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2738956" y="4391725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2738956" y="5051750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9" name="Group 70"/>
          <p:cNvGrpSpPr/>
          <p:nvPr/>
        </p:nvGrpSpPr>
        <p:grpSpPr>
          <a:xfrm>
            <a:off x="3230069" y="1091041"/>
            <a:ext cx="5414431" cy="533400"/>
            <a:chOff x="381000" y="1600200"/>
            <a:chExt cx="9144600" cy="533400"/>
          </a:xfrm>
        </p:grpSpPr>
        <p:sp>
          <p:nvSpPr>
            <p:cNvPr id="60" name="Text Placeholder 38"/>
            <p:cNvSpPr txBox="1">
              <a:spLocks/>
            </p:cNvSpPr>
            <p:nvPr/>
          </p:nvSpPr>
          <p:spPr>
            <a:xfrm>
              <a:off x="381000" y="1600200"/>
              <a:ext cx="9144000" cy="532800"/>
            </a:xfrm>
            <a:prstGeom prst="rect">
              <a:avLst/>
            </a:prstGeom>
          </p:spPr>
          <p:txBody>
            <a:bodyPr lIns="0" tIns="120000" rIns="0" bIns="120000" anchor="ctr" anchorCtr="0"/>
            <a:lstStyle>
              <a:lvl1pPr marL="0" indent="0" algn="l" defTabSz="914400" rtl="0" eaLnBrk="1" latinLnBrk="0" hangingPunct="1">
                <a:spcBef>
                  <a:spcPts val="1500"/>
                </a:spcBef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1pPr>
              <a:lvl2pPr marL="270000" indent="-268288" algn="l" defTabSz="914400" rtl="0" eaLnBrk="1" latinLnBrk="0" hangingPunct="1">
                <a:spcBef>
                  <a:spcPts val="1000"/>
                </a:spcBef>
                <a:buClr>
                  <a:schemeClr val="accent1"/>
                </a:buClr>
                <a:buFont typeface="Wingdings" pitchFamily="2" charset="2"/>
                <a:buChar char="n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2pPr>
              <a:lvl3pPr marL="540000" indent="-268288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3pPr>
              <a:lvl4pPr marL="810000" indent="-27000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4pPr>
              <a:lvl5pPr marL="810000" indent="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 pitchFamily="34" charset="0"/>
                </a:rPr>
                <a:t>Redes de telecomunicaciones</a:t>
              </a:r>
            </a:p>
          </p:txBody>
        </p:sp>
        <p:cxnSp>
          <p:nvCxnSpPr>
            <p:cNvPr id="61" name="Connecteur droit 11"/>
            <p:cNvCxnSpPr/>
            <p:nvPr/>
          </p:nvCxnSpPr>
          <p:spPr>
            <a:xfrm>
              <a:off x="381601" y="2133600"/>
              <a:ext cx="9143999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62" name="Group 73"/>
          <p:cNvGrpSpPr/>
          <p:nvPr/>
        </p:nvGrpSpPr>
        <p:grpSpPr>
          <a:xfrm>
            <a:off x="9254746" y="1091041"/>
            <a:ext cx="2456349" cy="533400"/>
            <a:chOff x="381000" y="1600200"/>
            <a:chExt cx="9144600" cy="533400"/>
          </a:xfrm>
        </p:grpSpPr>
        <p:sp>
          <p:nvSpPr>
            <p:cNvPr id="63" name="Text Placeholder 38"/>
            <p:cNvSpPr txBox="1">
              <a:spLocks/>
            </p:cNvSpPr>
            <p:nvPr/>
          </p:nvSpPr>
          <p:spPr>
            <a:xfrm>
              <a:off x="381000" y="1600200"/>
              <a:ext cx="9144000" cy="532800"/>
            </a:xfrm>
            <a:prstGeom prst="rect">
              <a:avLst/>
            </a:prstGeom>
          </p:spPr>
          <p:txBody>
            <a:bodyPr lIns="0" tIns="120000" rIns="0" bIns="120000" anchor="ctr" anchorCtr="0"/>
            <a:lstStyle>
              <a:lvl1pPr marL="0" indent="0" algn="l" defTabSz="914400" rtl="0" eaLnBrk="1" latinLnBrk="0" hangingPunct="1">
                <a:spcBef>
                  <a:spcPts val="1500"/>
                </a:spcBef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1pPr>
              <a:lvl2pPr marL="270000" indent="-268288" algn="l" defTabSz="914400" rtl="0" eaLnBrk="1" latinLnBrk="0" hangingPunct="1">
                <a:spcBef>
                  <a:spcPts val="1000"/>
                </a:spcBef>
                <a:buClr>
                  <a:schemeClr val="accent1"/>
                </a:buClr>
                <a:buFont typeface="Wingdings" pitchFamily="2" charset="2"/>
                <a:buChar char="n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2pPr>
              <a:lvl3pPr marL="540000" indent="-268288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3pPr>
              <a:lvl4pPr marL="810000" indent="-27000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 typeface="Arial" pitchFamily="34" charset="0"/>
                <a:buChar char="–"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4pPr>
              <a:lvl5pPr marL="810000" indent="0" algn="l" defTabSz="914400" rtl="0" eaLnBrk="1" latinLnBrk="0" hangingPunct="1">
                <a:spcBef>
                  <a:spcPts val="500"/>
                </a:spcBef>
                <a:buClr>
                  <a:schemeClr val="accent1"/>
                </a:buClr>
                <a:buFontTx/>
                <a:buNone/>
                <a:defRPr sz="1800" kern="1200">
                  <a:solidFill>
                    <a:srgbClr val="004785"/>
                  </a:solidFill>
                  <a:latin typeface="Gill Sans MT" panose="020B0502020104020203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50000"/>
                    </a:schemeClr>
                  </a:solidFill>
                  <a:effectLst/>
                  <a:uLnTx/>
                  <a:uFillTx/>
                  <a:latin typeface="Gill Sans MT" panose="020B0502020104020203" pitchFamily="34" charset="0"/>
                  <a:ea typeface="+mn-ea"/>
                  <a:cs typeface="Arial" pitchFamily="34" charset="0"/>
                </a:rPr>
                <a:t>Servicios</a:t>
              </a:r>
            </a:p>
          </p:txBody>
        </p:sp>
        <p:cxnSp>
          <p:nvCxnSpPr>
            <p:cNvPr id="64" name="Connecteur droit 11"/>
            <p:cNvCxnSpPr/>
            <p:nvPr/>
          </p:nvCxnSpPr>
          <p:spPr>
            <a:xfrm>
              <a:off x="381601" y="2133600"/>
              <a:ext cx="9143999" cy="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65" name="Rounded Rectangle 77"/>
          <p:cNvSpPr/>
          <p:nvPr/>
        </p:nvSpPr>
        <p:spPr>
          <a:xfrm>
            <a:off x="3323663" y="1792189"/>
            <a:ext cx="5261544" cy="4607417"/>
          </a:xfrm>
          <a:prstGeom prst="roundRect">
            <a:avLst>
              <a:gd name="adj" fmla="val 11334"/>
            </a:avLst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120000" rIns="48000" bIns="12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7CC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…</a:t>
            </a:r>
          </a:p>
        </p:txBody>
      </p:sp>
      <p:pic>
        <p:nvPicPr>
          <p:cNvPr id="66" name="Picture 59" descr="http://www.vodafone.co.uk/cs/groups/public/documents/webcontent/1287x929_vodafone_logo.jp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919" y="1901139"/>
            <a:ext cx="600894" cy="352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65" descr="https://upload.wikimedia.org/wikipedia/commons/thumb/c/c8/Orange_logo.svg/2000px-Orange_logo.svg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463" y="1958209"/>
            <a:ext cx="364367" cy="296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25" descr="https://www.cellnextelecom.com/content/uploads/2015/01/logo-cabecera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9206" y="2049288"/>
            <a:ext cx="655669" cy="19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KMA1D1FEAF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88624" y="2458354"/>
            <a:ext cx="2331320" cy="1376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8687" tIns="59095" rIns="58687" bIns="59095" anchor="ctr">
            <a:spAutoFit/>
          </a:bodyPr>
          <a:lstStyle>
            <a:lvl1pPr defTabSz="881063" eaLnBrk="0" hangingPunct="0">
              <a:spcBef>
                <a:spcPts val="1500"/>
              </a:spcBef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1063" eaLnBrk="0" hangingPunct="0">
              <a:spcBef>
                <a:spcPts val="1000"/>
              </a:spcBef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17" marR="0" lvl="1" indent="0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ES_tradnl" sz="1867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Red Móvil</a:t>
            </a:r>
          </a:p>
          <a:p>
            <a:pPr marL="243411" marR="0" lvl="1" indent="-241294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s-ES_tradnl" sz="2133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46 mil </a:t>
            </a:r>
            <a:r>
              <a:rPr kumimoji="0" lang="es-ES_tradnl" sz="1867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orres </a:t>
            </a:r>
          </a:p>
          <a:p>
            <a:pPr marL="243411" marR="0" lvl="1" indent="-241294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s-ES_tradnl" sz="213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160 </a:t>
            </a:r>
            <a:r>
              <a:rPr kumimoji="0" lang="es-ES_tradnl" sz="2133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mil </a:t>
            </a:r>
            <a:r>
              <a:rPr kumimoji="0" lang="es-ES_tradnl" sz="1867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estaciones base</a:t>
            </a:r>
          </a:p>
        </p:txBody>
      </p:sp>
      <p:sp>
        <p:nvSpPr>
          <p:cNvPr id="71" name="KMA1D1FEAF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88624" y="3879798"/>
            <a:ext cx="2331320" cy="2032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8687" tIns="59095" rIns="58687" bIns="59095" anchor="ctr">
            <a:spAutoFit/>
          </a:bodyPr>
          <a:lstStyle>
            <a:lvl1pPr defTabSz="881063" eaLnBrk="0" hangingPunct="0">
              <a:spcBef>
                <a:spcPts val="1500"/>
              </a:spcBef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1063" eaLnBrk="0" hangingPunct="0">
              <a:spcBef>
                <a:spcPts val="1000"/>
              </a:spcBef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17" marR="0" lvl="1" indent="0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ES_tradnl" sz="1867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Red Fija</a:t>
            </a:r>
          </a:p>
          <a:p>
            <a:pPr marL="383108" marR="0" lvl="1" indent="-380990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&gt;33</a:t>
            </a:r>
            <a:r>
              <a:rPr kumimoji="0" lang="es-ES_tradnl" sz="1867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millones </a:t>
            </a:r>
            <a:r>
              <a:rPr kumimoji="0" lang="es-ES_tradnl" sz="1867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de accesos NGA</a:t>
            </a:r>
            <a:r>
              <a:rPr kumimoji="0" lang="es-ES_tradnl" sz="1867" b="0" i="0" u="none" strike="noStrike" kern="1200" cap="none" spc="0" normalizeH="0" baseline="3000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1</a:t>
            </a:r>
            <a:endParaRPr kumimoji="0" lang="es-ES_tradnl" sz="2400" b="1" i="0" u="none" strike="noStrike" kern="1200" cap="none" spc="0" normalizeH="0" baseline="3000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  <a:p>
            <a:pPr marL="383108" marR="0" lvl="1" indent="-380990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itchFamily="2" charset="2"/>
              <a:buChar char="n"/>
              <a:tabLst/>
              <a:defRPr/>
            </a:pP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&gt;3 </a:t>
            </a:r>
            <a:r>
              <a:rPr kumimoji="0" lang="es-ES_tradnl" sz="1867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millones </a:t>
            </a:r>
            <a:r>
              <a:rPr kumimoji="0" lang="es-ES_tradnl" sz="1867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de km de cable óptico </a:t>
            </a:r>
            <a:endParaRPr kumimoji="0" lang="es-ES_tradnl" sz="2133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pic>
        <p:nvPicPr>
          <p:cNvPr id="72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8720841" y="2924926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246" descr="C:\Users\MORA10~1\AppData\Local\Temp\noun_10548_cc.png"/>
          <p:cNvPicPr>
            <a:picLocks noChangeAspect="1" noChangeArrowheads="1"/>
          </p:cNvPicPr>
          <p:nvPr/>
        </p:nvPicPr>
        <p:blipFill rotWithShape="1">
          <a:blip r:embed="rId2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92" t="10899" r="18222" b="25332"/>
          <a:stretch/>
        </p:blipFill>
        <p:spPr bwMode="auto">
          <a:xfrm>
            <a:off x="8720841" y="4570881"/>
            <a:ext cx="421080" cy="341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14" descr="http://4.bp.blogspot.com/-VvxoanyyHf0/VhwUphxVKLI/AAAAAAAAEqg/ILVa6uups8k/s1600/netflix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7867" y="4570697"/>
            <a:ext cx="413871" cy="20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36" descr="http://www.zuliapordentro.com/wp-content/uploads/2016/02/new-google-logo.jpg"/>
          <p:cNvPicPr>
            <a:picLocks noChangeAspect="1" noChangeArrowheads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36" b="22736"/>
          <a:stretch/>
        </p:blipFill>
        <p:spPr bwMode="auto">
          <a:xfrm>
            <a:off x="9956765" y="3410941"/>
            <a:ext cx="634449" cy="154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38" descr="http://www.gratisdescargarfacebook.com/wp-content/uploads/2016/01/e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8759" y="2862792"/>
            <a:ext cx="594020" cy="170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0" descr="https://www.britainfirst.org/wp-content/uploads/2015/08/TWITTER-1.jp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2449" y="2760550"/>
            <a:ext cx="500411" cy="21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42" descr="https://www.youtube.com/yt/brand/media/image/YouTube-logo-full_color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2716" y="4139622"/>
            <a:ext cx="557048" cy="281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ounded Rectangle 94"/>
          <p:cNvSpPr/>
          <p:nvPr/>
        </p:nvSpPr>
        <p:spPr>
          <a:xfrm>
            <a:off x="9254745" y="2118930"/>
            <a:ext cx="2448867" cy="3364676"/>
          </a:xfrm>
          <a:prstGeom prst="roundRect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120000" rIns="48000" bIns="120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1200" cap="none" spc="0" normalizeH="0" baseline="0" noProof="0" dirty="0">
                <a:ln>
                  <a:noFill/>
                </a:ln>
                <a:solidFill>
                  <a:srgbClr val="00478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…</a:t>
            </a:r>
          </a:p>
        </p:txBody>
      </p:sp>
      <p:pic>
        <p:nvPicPr>
          <p:cNvPr id="80" name="Picture 44" descr="http://static1.businessinsider.com/image/539f3ffbecad044276726c01-960/amazon-com-logo.jp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1509" y="4981558"/>
            <a:ext cx="439271" cy="130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20" descr="http://img.blogs.es/zenithmedia/wp-content/uploads/2014/01/wuaki.gif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9689" y="4763398"/>
            <a:ext cx="610129" cy="156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7" descr="http://www.redgesam.cl/wp/wp-content/uploads/2015/08/facebook-img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8595" y="2368623"/>
            <a:ext cx="396384" cy="322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268" descr="http://qtoplife.com/wp-content/uploads/2015/11/in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6830" y="3774753"/>
            <a:ext cx="797385" cy="175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51" descr="http://noxad.org/wp-content/uploads/2015/10/Dropbox-Logo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9151" y="3258824"/>
            <a:ext cx="393669" cy="319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53" descr="https://skypeblogs.files.wordpress.com/2013/09/skype-logo-feb_2012_rgb_500.png?w=300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516" y="2453083"/>
            <a:ext cx="459953" cy="165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83" descr="http://www.elandroidelibre.com/wp-content/uploads/2015/07/mytaxi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4365" y="3685843"/>
            <a:ext cx="547249" cy="197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85" descr="https://a2.muscache.com/airbnb/static/logos/belo-200x200-4d851c5b28f61931bf1df28dd15e60ef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8173" y="3011359"/>
            <a:ext cx="279988" cy="227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87" descr="https://d1a3f4spazzrp4.cloudfront.net/uber-com/1.2.3/d1a3f4spazzrp4.cloudfront.net/images/uber-serp-logo-f6e7549c89.jp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8302" y="4139574"/>
            <a:ext cx="349284" cy="28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9" name="Group 26"/>
          <p:cNvGrpSpPr/>
          <p:nvPr/>
        </p:nvGrpSpPr>
        <p:grpSpPr>
          <a:xfrm>
            <a:off x="6186685" y="2627573"/>
            <a:ext cx="1913068" cy="2972575"/>
            <a:chOff x="5149495" y="3084772"/>
            <a:chExt cx="1554368" cy="2972575"/>
          </a:xfrm>
        </p:grpSpPr>
        <p:pic>
          <p:nvPicPr>
            <p:cNvPr id="90" name="Picture 16" descr="C:\Users\MORA10~1\AppData\Local\Temp\noun_207595_cc.png"/>
            <p:cNvPicPr>
              <a:picLocks noChangeAspect="1" noChangeArrowheads="1"/>
            </p:cNvPicPr>
            <p:nvPr/>
          </p:nvPicPr>
          <p:blipFill rotWithShape="1">
            <a:blip r:embed="rId4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63" t="8232" r="5468" b="23380"/>
            <a:stretch/>
          </p:blipFill>
          <p:spPr bwMode="auto">
            <a:xfrm>
              <a:off x="5149495" y="5633629"/>
              <a:ext cx="384020" cy="2938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1" name="Cube 108"/>
            <p:cNvSpPr/>
            <p:nvPr/>
          </p:nvSpPr>
          <p:spPr>
            <a:xfrm>
              <a:off x="6272292" y="5247326"/>
              <a:ext cx="417025" cy="556017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4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933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92" name="Cube 109"/>
            <p:cNvSpPr/>
            <p:nvPr/>
          </p:nvSpPr>
          <p:spPr>
            <a:xfrm>
              <a:off x="6353185" y="5610986"/>
              <a:ext cx="144016" cy="192357"/>
            </a:xfrm>
            <a:prstGeom prst="cub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4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933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/>
                <a:ea typeface="+mn-ea"/>
                <a:cs typeface="+mn-cs"/>
              </a:endParaRPr>
            </a:p>
          </p:txBody>
        </p:sp>
        <p:cxnSp>
          <p:nvCxnSpPr>
            <p:cNvPr id="93" name="Straight Connector 111"/>
            <p:cNvCxnSpPr>
              <a:stCxn id="91" idx="2"/>
              <a:endCxn id="107" idx="2"/>
            </p:cNvCxnSpPr>
            <p:nvPr/>
          </p:nvCxnSpPr>
          <p:spPr>
            <a:xfrm flipH="1">
              <a:off x="5781554" y="5577463"/>
              <a:ext cx="490738" cy="479884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4" name="Straight Connector 114"/>
            <p:cNvCxnSpPr>
              <a:stCxn id="107" idx="2"/>
              <a:endCxn id="90" idx="2"/>
            </p:cNvCxnSpPr>
            <p:nvPr/>
          </p:nvCxnSpPr>
          <p:spPr>
            <a:xfrm flipH="1" flipV="1">
              <a:off x="5341505" y="5927493"/>
              <a:ext cx="440049" cy="129854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5" name="Straight Connector 119"/>
            <p:cNvCxnSpPr>
              <a:stCxn id="91" idx="2"/>
              <a:endCxn id="108" idx="2"/>
            </p:cNvCxnSpPr>
            <p:nvPr/>
          </p:nvCxnSpPr>
          <p:spPr>
            <a:xfrm flipH="1" flipV="1">
              <a:off x="5788457" y="5372636"/>
              <a:ext cx="483835" cy="204827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6" name="Straight Connector 120"/>
            <p:cNvCxnSpPr>
              <a:stCxn id="91" idx="2"/>
              <a:endCxn id="109" idx="2"/>
            </p:cNvCxnSpPr>
            <p:nvPr/>
          </p:nvCxnSpPr>
          <p:spPr>
            <a:xfrm flipH="1" flipV="1">
              <a:off x="6106007" y="5415799"/>
              <a:ext cx="166285" cy="161664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97" name="Straight Connector 122"/>
            <p:cNvCxnSpPr>
              <a:stCxn id="99" idx="2"/>
              <a:endCxn id="103" idx="2"/>
            </p:cNvCxnSpPr>
            <p:nvPr/>
          </p:nvCxnSpPr>
          <p:spPr>
            <a:xfrm flipH="1">
              <a:off x="5948711" y="3869928"/>
              <a:ext cx="338127" cy="542436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98" name="Group 123"/>
            <p:cNvGrpSpPr/>
            <p:nvPr/>
          </p:nvGrpSpPr>
          <p:grpSpPr>
            <a:xfrm>
              <a:off x="5966297" y="3084772"/>
              <a:ext cx="320630" cy="409117"/>
              <a:chOff x="3448049" y="2154202"/>
              <a:chExt cx="320630" cy="409117"/>
            </a:xfrm>
          </p:grpSpPr>
          <p:sp>
            <p:nvSpPr>
              <p:cNvPr id="110" name="AutoShape 45"/>
              <p:cNvSpPr>
                <a:spLocks noChangeArrowheads="1"/>
              </p:cNvSpPr>
              <p:nvPr/>
            </p:nvSpPr>
            <p:spPr bwMode="auto">
              <a:xfrm>
                <a:off x="3448049" y="2516662"/>
                <a:ext cx="320630" cy="46657"/>
              </a:xfrm>
              <a:prstGeom prst="cube">
                <a:avLst>
                  <a:gd name="adj" fmla="val 56199"/>
                </a:avLst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accent4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tIns="121920" bIns="121920" anchor="ctr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Helvetica 75 Bold"/>
                  <a:ea typeface="+mn-ea"/>
                  <a:cs typeface="+mn-cs"/>
                </a:endParaRPr>
              </a:p>
            </p:txBody>
          </p:sp>
          <p:sp>
            <p:nvSpPr>
              <p:cNvPr id="111" name="AutoShape 46"/>
              <p:cNvSpPr>
                <a:spLocks noChangeArrowheads="1"/>
              </p:cNvSpPr>
              <p:nvPr/>
            </p:nvSpPr>
            <p:spPr bwMode="auto">
              <a:xfrm>
                <a:off x="3676093" y="2154202"/>
                <a:ext cx="39161" cy="379811"/>
              </a:xfrm>
              <a:prstGeom prst="can">
                <a:avLst>
                  <a:gd name="adj" fmla="val 2676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accent4">
                    <a:lumMod val="50000"/>
                  </a:schemeClr>
                </a:solidFill>
                <a:round/>
                <a:headEnd/>
                <a:tailEnd/>
              </a:ln>
              <a:effectLst>
                <a:outerShdw dist="28398" dir="20006097" algn="ctr" rotWithShape="0">
                  <a:srgbClr val="808080">
                    <a:alpha val="50000"/>
                  </a:srgbClr>
                </a:outerShdw>
              </a:effectLst>
            </p:spPr>
            <p:txBody>
              <a:bodyPr wrap="none" tIns="121920" bIns="121920" anchor="ctr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Helvetica 75 Bold"/>
                  <a:ea typeface="+mn-ea"/>
                  <a:cs typeface="+mn-cs"/>
                </a:endParaRPr>
              </a:p>
            </p:txBody>
          </p:sp>
          <p:grpSp>
            <p:nvGrpSpPr>
              <p:cNvPr id="112" name="Group 47"/>
              <p:cNvGrpSpPr>
                <a:grpSpLocks/>
              </p:cNvGrpSpPr>
              <p:nvPr/>
            </p:nvGrpSpPr>
            <p:grpSpPr bwMode="auto">
              <a:xfrm>
                <a:off x="3642523" y="2156517"/>
                <a:ext cx="107586" cy="92158"/>
                <a:chOff x="783" y="1737"/>
                <a:chExt cx="268" cy="239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14" name="AutoShape 48"/>
                <p:cNvSpPr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783" y="1737"/>
                  <a:ext cx="53" cy="150"/>
                </a:xfrm>
                <a:prstGeom prst="cube">
                  <a:avLst>
                    <a:gd name="adj" fmla="val 25000"/>
                  </a:avLst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AutoShape 49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998" y="1755"/>
                  <a:ext cx="53" cy="150"/>
                </a:xfrm>
                <a:prstGeom prst="cube">
                  <a:avLst>
                    <a:gd name="adj" fmla="val 39620"/>
                  </a:avLst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Line 50"/>
                <p:cNvSpPr>
                  <a:spLocks noChangeShapeType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828" y="1784"/>
                  <a:ext cx="32" cy="20"/>
                </a:xfrm>
                <a:prstGeom prst="line">
                  <a:avLst/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Line 51"/>
                <p:cNvSpPr>
                  <a:spLocks noChangeShapeType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 flipV="1">
                  <a:off x="946" y="1809"/>
                  <a:ext cx="50" cy="11"/>
                </a:xfrm>
                <a:prstGeom prst="line">
                  <a:avLst/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18" name="Line 52"/>
                <p:cNvSpPr>
                  <a:spLocks noChangeShapeType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948" y="1866"/>
                  <a:ext cx="52" cy="15"/>
                </a:xfrm>
                <a:prstGeom prst="line">
                  <a:avLst/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Line 53"/>
                <p:cNvSpPr>
                  <a:spLocks noChangeShapeType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 flipV="1">
                  <a:off x="828" y="1840"/>
                  <a:ext cx="50" cy="16"/>
                </a:xfrm>
                <a:prstGeom prst="line">
                  <a:avLst/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AutoShape 54"/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849" y="1826"/>
                  <a:ext cx="53" cy="150"/>
                </a:xfrm>
                <a:prstGeom prst="cube">
                  <a:avLst>
                    <a:gd name="adj" fmla="val 25000"/>
                  </a:avLst>
                </a:prstGeom>
                <a:grpFill/>
                <a:ln w="12700">
                  <a:solidFill>
                    <a:schemeClr val="accent4">
                      <a:lumMod val="50000"/>
                    </a:schemeClr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wrap="none" lIns="0" tIns="0" rIns="0" bIns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33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Helvetica 75 Bold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3" name="AutoShape 55"/>
              <p:cNvSpPr>
                <a:spLocks noChangeArrowheads="1"/>
              </p:cNvSpPr>
              <p:nvPr/>
            </p:nvSpPr>
            <p:spPr bwMode="auto">
              <a:xfrm>
                <a:off x="3477942" y="2447169"/>
                <a:ext cx="160315" cy="86094"/>
              </a:xfrm>
              <a:prstGeom prst="cube">
                <a:avLst>
                  <a:gd name="adj" fmla="val 15769"/>
                </a:avLst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accent4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lIns="0" tIns="0" rIns="0" bIns="0" anchor="ctr">
                <a:no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33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Helvetica 75 Bold"/>
                  <a:ea typeface="+mn-ea"/>
                  <a:cs typeface="+mn-cs"/>
                </a:endParaRPr>
              </a:p>
            </p:txBody>
          </p:sp>
        </p:grpSp>
        <p:sp>
          <p:nvSpPr>
            <p:cNvPr id="99" name="Cube 124"/>
            <p:cNvSpPr/>
            <p:nvPr/>
          </p:nvSpPr>
          <p:spPr>
            <a:xfrm>
              <a:off x="6286838" y="3539791"/>
              <a:ext cx="417025" cy="556017"/>
            </a:xfrm>
            <a:prstGeom prst="cube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4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933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100" name="Cube 125"/>
            <p:cNvSpPr/>
            <p:nvPr/>
          </p:nvSpPr>
          <p:spPr>
            <a:xfrm>
              <a:off x="6374111" y="3903451"/>
              <a:ext cx="144016" cy="192357"/>
            </a:xfrm>
            <a:prstGeom prst="cub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4">
                  <a:lumMod val="50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933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 75 Bold"/>
                <a:ea typeface="+mn-ea"/>
                <a:cs typeface="+mn-cs"/>
              </a:endParaRPr>
            </a:p>
          </p:txBody>
        </p:sp>
        <p:cxnSp>
          <p:nvCxnSpPr>
            <p:cNvPr id="101" name="Straight Connector 126"/>
            <p:cNvCxnSpPr>
              <a:stCxn id="99" idx="2"/>
              <a:endCxn id="110" idx="3"/>
            </p:cNvCxnSpPr>
            <p:nvPr/>
          </p:nvCxnSpPr>
          <p:spPr>
            <a:xfrm flipH="1" flipV="1">
              <a:off x="6113502" y="3493889"/>
              <a:ext cx="173336" cy="376039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2" name="Straight Connector 127"/>
            <p:cNvCxnSpPr>
              <a:stCxn id="99" idx="2"/>
              <a:endCxn id="104" idx="2"/>
            </p:cNvCxnSpPr>
            <p:nvPr/>
          </p:nvCxnSpPr>
          <p:spPr>
            <a:xfrm flipH="1">
              <a:off x="5558856" y="3869928"/>
              <a:ext cx="727982" cy="182004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103" name="Picture 24" descr="C:\Users\MORA10~1\AppData\Local\Temp\noun_128022_cc.png"/>
            <p:cNvPicPr>
              <a:picLocks noChangeAspect="1" noChangeArrowheads="1"/>
            </p:cNvPicPr>
            <p:nvPr/>
          </p:nvPicPr>
          <p:blipFill rotWithShape="1">
            <a:blip r:embed="rId4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453"/>
            <a:stretch/>
          </p:blipFill>
          <p:spPr bwMode="auto">
            <a:xfrm>
              <a:off x="5726013" y="4026888"/>
              <a:ext cx="445396" cy="385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" name="Picture 24" descr="C:\Users\MORA10~1\AppData\Local\Temp\noun_128022_cc.png"/>
            <p:cNvPicPr>
              <a:picLocks noChangeAspect="1" noChangeArrowheads="1"/>
            </p:cNvPicPr>
            <p:nvPr/>
          </p:nvPicPr>
          <p:blipFill rotWithShape="1">
            <a:blip r:embed="rId4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453"/>
            <a:stretch/>
          </p:blipFill>
          <p:spPr bwMode="auto">
            <a:xfrm>
              <a:off x="5336158" y="3666456"/>
              <a:ext cx="445396" cy="385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" name="Picture 24" descr="C:\Users\MORA10~1\AppData\Local\Temp\noun_128022_cc.png"/>
            <p:cNvPicPr>
              <a:picLocks noChangeAspect="1" noChangeArrowheads="1"/>
            </p:cNvPicPr>
            <p:nvPr/>
          </p:nvPicPr>
          <p:blipFill rotWithShape="1">
            <a:blip r:embed="rId4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453"/>
            <a:stretch/>
          </p:blipFill>
          <p:spPr bwMode="auto">
            <a:xfrm>
              <a:off x="5548821" y="3189390"/>
              <a:ext cx="445396" cy="385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6" name="Straight Connector 132"/>
            <p:cNvCxnSpPr>
              <a:stCxn id="99" idx="2"/>
              <a:endCxn id="105" idx="2"/>
            </p:cNvCxnSpPr>
            <p:nvPr/>
          </p:nvCxnSpPr>
          <p:spPr>
            <a:xfrm flipH="1" flipV="1">
              <a:off x="5771519" y="3574866"/>
              <a:ext cx="515319" cy="295062"/>
            </a:xfrm>
            <a:prstGeom prst="lin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107" name="Image 6"/>
            <p:cNvPicPr>
              <a:picLocks noChangeAspect="1"/>
            </p:cNvPicPr>
            <p:nvPr/>
          </p:nvPicPr>
          <p:blipFill>
            <a:blip r:embed="rId4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73831" y="5700322"/>
              <a:ext cx="415446" cy="357025"/>
            </a:xfrm>
            <a:prstGeom prst="rect">
              <a:avLst/>
            </a:prstGeom>
          </p:spPr>
        </p:pic>
        <p:pic>
          <p:nvPicPr>
            <p:cNvPr id="108" name="Image 6"/>
            <p:cNvPicPr>
              <a:picLocks noChangeAspect="1"/>
            </p:cNvPicPr>
            <p:nvPr/>
          </p:nvPicPr>
          <p:blipFill>
            <a:blip r:embed="rId4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46579" y="5128783"/>
              <a:ext cx="283755" cy="243853"/>
            </a:xfrm>
            <a:prstGeom prst="rect">
              <a:avLst/>
            </a:prstGeom>
          </p:spPr>
        </p:pic>
        <p:pic>
          <p:nvPicPr>
            <p:cNvPr id="109" name="Image 6"/>
            <p:cNvPicPr>
              <a:picLocks noChangeAspect="1"/>
            </p:cNvPicPr>
            <p:nvPr/>
          </p:nvPicPr>
          <p:blipFill>
            <a:blip r:embed="rId4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4129" y="5171946"/>
              <a:ext cx="283755" cy="243853"/>
            </a:xfrm>
            <a:prstGeom prst="rect">
              <a:avLst/>
            </a:prstGeom>
          </p:spPr>
        </p:pic>
      </p:grpSp>
      <p:pic>
        <p:nvPicPr>
          <p:cNvPr id="121" name="Picture 2" descr="Image result for snapchat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8287" y="3866519"/>
            <a:ext cx="278376" cy="226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121 Imagen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811" y="2037443"/>
            <a:ext cx="640605" cy="269055"/>
          </a:xfrm>
          <a:prstGeom prst="rect">
            <a:avLst/>
          </a:prstGeom>
        </p:spPr>
      </p:pic>
      <p:pic>
        <p:nvPicPr>
          <p:cNvPr id="123" name="122 Imagen"/>
          <p:cNvPicPr>
            <a:picLocks noChangeAspect="1"/>
          </p:cNvPicPr>
          <p:nvPr/>
        </p:nvPicPr>
        <p:blipFill rotWithShape="1"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2" t="17021" r="2919" b="15228"/>
          <a:stretch/>
        </p:blipFill>
        <p:spPr>
          <a:xfrm>
            <a:off x="3448534" y="1990371"/>
            <a:ext cx="684229" cy="263172"/>
          </a:xfrm>
          <a:prstGeom prst="rect">
            <a:avLst/>
          </a:prstGeom>
        </p:spPr>
      </p:pic>
      <p:sp>
        <p:nvSpPr>
          <p:cNvPr id="2" name="1 Elipse"/>
          <p:cNvSpPr/>
          <p:nvPr/>
        </p:nvSpPr>
        <p:spPr>
          <a:xfrm>
            <a:off x="3323663" y="2391400"/>
            <a:ext cx="2613443" cy="1534737"/>
          </a:xfrm>
          <a:prstGeom prst="ellipse">
            <a:avLst/>
          </a:prstGeom>
          <a:noFill/>
          <a:ln w="508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75 Bold"/>
              <a:ea typeface="+mn-ea"/>
              <a:cs typeface="+mn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3"/>
          <a:srcRect l="19263" t="37416" r="18683" b="40373"/>
          <a:stretch/>
        </p:blipFill>
        <p:spPr>
          <a:xfrm>
            <a:off x="5554414" y="2027911"/>
            <a:ext cx="690724" cy="165688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4"/>
          <a:stretch>
            <a:fillRect/>
          </a:stretch>
        </p:blipFill>
        <p:spPr>
          <a:xfrm>
            <a:off x="6276123" y="1997979"/>
            <a:ext cx="903726" cy="245533"/>
          </a:xfrm>
          <a:prstGeom prst="rect">
            <a:avLst/>
          </a:prstGeom>
        </p:spPr>
      </p:pic>
      <p:sp>
        <p:nvSpPr>
          <p:cNvPr id="128" name="KMA1D1FEAF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618027" y="5836228"/>
            <a:ext cx="5144573" cy="447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8687" tIns="59095" rIns="58687" bIns="59095" anchor="ctr">
            <a:spAutoFit/>
          </a:bodyPr>
          <a:lstStyle>
            <a:lvl1pPr defTabSz="881063" eaLnBrk="0" hangingPunct="0">
              <a:spcBef>
                <a:spcPts val="1500"/>
              </a:spcBef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1063" eaLnBrk="0" hangingPunct="0">
              <a:spcBef>
                <a:spcPts val="1000"/>
              </a:spcBef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1063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1063" eaLnBrk="0" fontAlgn="base" hangingPunct="0"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17" marR="0" lvl="1" indent="0" algn="l" defTabSz="1200121" rtl="0" eaLnBrk="0" fontAlgn="auto" latinLnBrk="0" hangingPunct="0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007CC3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s-ES_tradnl" sz="1867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Inversión (2019):</a:t>
            </a:r>
            <a:r>
              <a:rPr kumimoji="0" lang="es-ES_tradnl" sz="1867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</a:t>
            </a:r>
            <a:r>
              <a:rPr kumimoji="0" lang="es-ES_tradnl" sz="213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5.760 millones de €</a:t>
            </a:r>
            <a:endParaRPr kumimoji="0" lang="es-ES_tradnl" sz="1867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27" name="1 Título">
            <a:extLst>
              <a:ext uri="{FF2B5EF4-FFF2-40B4-BE49-F238E27FC236}">
                <a16:creationId xmlns:a16="http://schemas.microsoft.com/office/drawing/2014/main" id="{78771433-3616-4387-B958-F64A1DC60B47}"/>
              </a:ext>
            </a:extLst>
          </p:cNvPr>
          <p:cNvSpPr txBox="1">
            <a:spLocks/>
          </p:cNvSpPr>
          <p:nvPr/>
        </p:nvSpPr>
        <p:spPr bwMode="auto">
          <a:xfrm>
            <a:off x="337864" y="11482"/>
            <a:ext cx="8804057" cy="671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</a:t>
            </a:r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lgunos datos del sector </a:t>
            </a:r>
            <a:r>
              <a:rPr lang="es-ES" altLang="es-ES" sz="4000" b="1" dirty="0" err="1" smtClean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en España</a:t>
            </a:r>
            <a:endParaRPr lang="es-ES" altLang="es-ES" sz="40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8417" y="303738"/>
            <a:ext cx="1438338" cy="223644"/>
          </a:xfrm>
          <a:prstGeom prst="rect">
            <a:avLst/>
          </a:prstGeom>
        </p:spPr>
      </p:pic>
      <p:sp>
        <p:nvSpPr>
          <p:cNvPr id="124" name="Rectángulo 123"/>
          <p:cNvSpPr/>
          <p:nvPr/>
        </p:nvSpPr>
        <p:spPr>
          <a:xfrm>
            <a:off x="4303579" y="1165378"/>
            <a:ext cx="3217267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5" name="Rectángulo 124"/>
          <p:cNvSpPr/>
          <p:nvPr/>
        </p:nvSpPr>
        <p:spPr>
          <a:xfrm>
            <a:off x="636692" y="1196260"/>
            <a:ext cx="2009217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6" name="Rectángulo 125"/>
          <p:cNvSpPr/>
          <p:nvPr/>
        </p:nvSpPr>
        <p:spPr>
          <a:xfrm>
            <a:off x="9831184" y="1168235"/>
            <a:ext cx="1265285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901340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50 Rectángulo"/>
          <p:cNvSpPr/>
          <p:nvPr/>
        </p:nvSpPr>
        <p:spPr>
          <a:xfrm>
            <a:off x="4865770" y="6084615"/>
            <a:ext cx="5770746" cy="738664"/>
          </a:xfrm>
          <a:prstGeom prst="rect">
            <a:avLst/>
          </a:prstGeom>
          <a:noFill/>
        </p:spPr>
        <p:txBody>
          <a:bodyPr wrap="none" lIns="121920" tIns="60960" rIns="121920" bIns="60960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000" b="1" i="0" u="none" strike="noStrike" kern="1200" cap="none" spc="0" normalizeH="0" baseline="0" noProof="0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reación grupo de trabajo</a:t>
            </a:r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516" y="146412"/>
            <a:ext cx="1438338" cy="223644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 bwMode="auto">
          <a:xfrm>
            <a:off x="4637640" y="893435"/>
            <a:ext cx="755436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363538" lvl="1" indent="-363538" defTabSz="914400">
              <a:spcBef>
                <a:spcPts val="1000"/>
              </a:spcBef>
              <a:buClr>
                <a:srgbClr val="4D515A"/>
              </a:buClr>
              <a:defRPr/>
            </a:pP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) Sector </a:t>
            </a:r>
            <a:r>
              <a:rPr lang="es-ES" sz="2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 </a:t>
            </a:r>
            <a:r>
              <a:rPr lang="es-ES" sz="265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ja siniestralidad</a:t>
            </a:r>
            <a:r>
              <a:rPr lang="es-ES" sz="2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nque con </a:t>
            </a:r>
            <a:r>
              <a:rPr lang="es-ES" sz="265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vado nivel de riesgo 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determinados proyectos: </a:t>
            </a:r>
            <a:r>
              <a:rPr lang="es-ES" sz="2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turas, confinados, 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icidad.</a:t>
            </a:r>
          </a:p>
          <a:p>
            <a:pPr marL="363538" lvl="1" indent="-363538" defTabSz="914400">
              <a:spcBef>
                <a:spcPts val="1000"/>
              </a:spcBef>
              <a:buClr>
                <a:srgbClr val="4D515A"/>
              </a:buClr>
              <a:defRPr/>
            </a:pP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) </a:t>
            </a:r>
            <a:r>
              <a:rPr lang="es-ES" sz="265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cciones aprendidas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Incidentes causados en ocasiones por </a:t>
            </a:r>
            <a:r>
              <a:rPr lang="es-ES" sz="265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ticas inadecuadas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63538" lvl="1" indent="-363538" defTabSz="914400">
              <a:spcBef>
                <a:spcPts val="1000"/>
              </a:spcBef>
              <a:buClr>
                <a:srgbClr val="4D515A"/>
              </a:buClr>
              <a:defRPr/>
            </a:pP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) El sector </a:t>
            </a:r>
            <a:r>
              <a:rPr lang="es-ES" sz="265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te infraestructuras 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 emplea un específico grupo de </a:t>
            </a:r>
            <a:r>
              <a:rPr lang="es-ES" sz="2650" b="1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presas especializadas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impacto en requisitos CAE y de gestión de accesos.</a:t>
            </a:r>
          </a:p>
          <a:p>
            <a:pPr marL="363538" lvl="1" indent="-363538" defTabSz="914400">
              <a:spcBef>
                <a:spcPts val="1000"/>
              </a:spcBef>
              <a:buClr>
                <a:srgbClr val="4D515A"/>
              </a:buClr>
              <a:defRPr/>
            </a:pP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) Requisitos </a:t>
            </a:r>
            <a:r>
              <a:rPr lang="es-ES" sz="2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ativos </a:t>
            </a:r>
            <a:r>
              <a:rPr lang="es-ES" sz="265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erentes</a:t>
            </a:r>
            <a:r>
              <a:rPr lang="es-ES" sz="2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n cada </a:t>
            </a:r>
            <a:r>
              <a:rPr lang="es-ES" sz="2650" dirty="0" smtClean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dora: Sobrecostes de gestión.</a:t>
            </a:r>
            <a:endParaRPr lang="es-ES" sz="2650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849" y="1022997"/>
            <a:ext cx="4168333" cy="5591240"/>
          </a:xfrm>
          <a:prstGeom prst="rect">
            <a:avLst/>
          </a:prstGeom>
        </p:spPr>
      </p:pic>
      <p:sp>
        <p:nvSpPr>
          <p:cNvPr id="16" name="1 Título">
            <a:extLst>
              <a:ext uri="{FF2B5EF4-FFF2-40B4-BE49-F238E27FC236}">
                <a16:creationId xmlns:a16="http://schemas.microsoft.com/office/drawing/2014/main" id="{78771433-3616-4387-B958-F64A1DC60B47}"/>
              </a:ext>
            </a:extLst>
          </p:cNvPr>
          <p:cNvSpPr txBox="1">
            <a:spLocks/>
          </p:cNvSpPr>
          <p:nvPr/>
        </p:nvSpPr>
        <p:spPr bwMode="auto">
          <a:xfrm>
            <a:off x="337864" y="11482"/>
            <a:ext cx="8804057" cy="671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Situación de partida</a:t>
            </a:r>
            <a:endParaRPr lang="es-ES" altLang="es-ES" sz="40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Flecha abajo 4"/>
          <p:cNvSpPr/>
          <p:nvPr/>
        </p:nvSpPr>
        <p:spPr>
          <a:xfrm>
            <a:off x="6270170" y="5679361"/>
            <a:ext cx="791635" cy="523379"/>
          </a:xfrm>
          <a:prstGeom prst="downArrow">
            <a:avLst/>
          </a:prstGeom>
          <a:solidFill>
            <a:srgbClr val="009999"/>
          </a:solidFill>
          <a:ln w="603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Flecha abajo 18"/>
          <p:cNvSpPr/>
          <p:nvPr/>
        </p:nvSpPr>
        <p:spPr>
          <a:xfrm>
            <a:off x="7859158" y="5679361"/>
            <a:ext cx="791635" cy="523379"/>
          </a:xfrm>
          <a:prstGeom prst="downArrow">
            <a:avLst/>
          </a:prstGeom>
          <a:solidFill>
            <a:srgbClr val="009999"/>
          </a:solidFill>
          <a:ln w="603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0" name="Picture 7"/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rcRect r="-17636" b="42741"/>
          <a:stretch/>
        </p:blipFill>
        <p:spPr>
          <a:xfrm rot="16200000">
            <a:off x="7263253" y="3510929"/>
            <a:ext cx="493012" cy="62535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375093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>
            <a:extLst>
              <a:ext uri="{FF2B5EF4-FFF2-40B4-BE49-F238E27FC236}">
                <a16:creationId xmlns:a16="http://schemas.microsoft.com/office/drawing/2014/main" id="{E2BB32FF-FB4F-4C72-BF30-308716D5650B}"/>
              </a:ext>
            </a:extLst>
          </p:cNvPr>
          <p:cNvSpPr/>
          <p:nvPr/>
        </p:nvSpPr>
        <p:spPr>
          <a:xfrm>
            <a:off x="4026090" y="5201481"/>
            <a:ext cx="7321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067"/>
              </a:spcBef>
              <a:defRPr/>
            </a:pPr>
            <a:r>
              <a:rPr lang="es-ES" altLang="es-E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aplicación a </a:t>
            </a:r>
            <a:r>
              <a:rPr lang="es-ES" altLang="es-ES" sz="2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dos los trabajadores </a:t>
            </a:r>
            <a:r>
              <a:rPr lang="es-ES" altLang="es-E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e desarrollen </a:t>
            </a:r>
            <a:r>
              <a:rPr lang="es-ES" altLang="es-ES" sz="2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yectos </a:t>
            </a:r>
            <a:r>
              <a:rPr lang="es-ES" altLang="es-ES" sz="2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vos </a:t>
            </a:r>
            <a:r>
              <a:rPr lang="es-ES" altLang="es-E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a el </a:t>
            </a:r>
            <a:r>
              <a:rPr lang="es-ES" altLang="es-ES" sz="2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tor de las Telecomunicaciones, </a:t>
            </a:r>
            <a:r>
              <a:rPr lang="es-ES" altLang="es-ES" sz="2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ependientemente de su empresa.</a:t>
            </a:r>
            <a:endParaRPr lang="es-ES" altLang="es-ES" sz="2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437" name="1 Rectángulo">
            <a:extLst>
              <a:ext uri="{FF2B5EF4-FFF2-40B4-BE49-F238E27FC236}">
                <a16:creationId xmlns:a16="http://schemas.microsoft.com/office/drawing/2014/main" id="{F62A6EF8-2E29-4C29-9BA3-62A6FB88D2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090" y="2235492"/>
            <a:ext cx="7763096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174625" indent="-174625" algn="just">
              <a:buFont typeface="Wingdings" panose="05000000000000000000" pitchFamily="2" charset="2"/>
              <a:buChar char="§"/>
            </a:pPr>
            <a:r>
              <a:rPr lang="es-ES" altLang="es-ES" sz="2400" b="1" dirty="0">
                <a:latin typeface="Calibri" panose="020F0502020204030204" pitchFamily="34" charset="0"/>
              </a:rPr>
              <a:t>Elevar el nivel de la formación </a:t>
            </a:r>
            <a:r>
              <a:rPr lang="es-ES" altLang="es-ES" sz="2400" dirty="0">
                <a:latin typeface="Calibri" panose="020F0502020204030204" pitchFamily="34" charset="0"/>
              </a:rPr>
              <a:t>recibida incorporándola como requisito PRL imprescindible para trabajar en el sector.</a:t>
            </a:r>
          </a:p>
          <a:p>
            <a:pPr marL="174625" indent="-174625" algn="just" eaLnBrk="1" hangingPunct="1">
              <a:buFont typeface="Arial" panose="020B0604020202020204" pitchFamily="34" charset="0"/>
              <a:buChar char="•"/>
            </a:pPr>
            <a:r>
              <a:rPr lang="es-ES" altLang="es-ES" sz="2400" dirty="0" smtClean="0">
                <a:latin typeface="Calibri" panose="020F0502020204030204" pitchFamily="34" charset="0"/>
              </a:rPr>
              <a:t>Implementar </a:t>
            </a:r>
            <a:r>
              <a:rPr lang="es-ES" altLang="es-ES" sz="2400" dirty="0">
                <a:latin typeface="Calibri" panose="020F0502020204030204" pitchFamily="34" charset="0"/>
              </a:rPr>
              <a:t>un </a:t>
            </a:r>
            <a:r>
              <a:rPr lang="es-ES" altLang="es-ES" sz="2400" b="1" dirty="0">
                <a:latin typeface="Calibri" panose="020F0502020204030204" pitchFamily="34" charset="0"/>
              </a:rPr>
              <a:t>estándar de </a:t>
            </a:r>
            <a:r>
              <a:rPr lang="es-ES" altLang="es-ES" sz="2400" b="1" dirty="0" smtClean="0">
                <a:latin typeface="Calibri" panose="020F0502020204030204" pitchFamily="34" charset="0"/>
              </a:rPr>
              <a:t>capacitación exigente</a:t>
            </a:r>
            <a:r>
              <a:rPr lang="es-ES" altLang="es-ES" sz="2400" dirty="0" smtClean="0">
                <a:latin typeface="Calibri" panose="020F0502020204030204" pitchFamily="34" charset="0"/>
              </a:rPr>
              <a:t>, </a:t>
            </a:r>
            <a:r>
              <a:rPr lang="es-ES" altLang="es-ES" sz="2400" b="1" dirty="0" smtClean="0">
                <a:latin typeface="Calibri" panose="020F0502020204030204" pitchFamily="34" charset="0"/>
              </a:rPr>
              <a:t>específico</a:t>
            </a:r>
            <a:r>
              <a:rPr lang="es-ES" altLang="es-ES" sz="2400" dirty="0" smtClean="0">
                <a:latin typeface="Calibri" panose="020F0502020204030204" pitchFamily="34" charset="0"/>
              </a:rPr>
              <a:t> y </a:t>
            </a:r>
            <a:r>
              <a:rPr lang="es-ES" altLang="es-ES" sz="2400" b="1" dirty="0" smtClean="0">
                <a:latin typeface="Calibri" panose="020F0502020204030204" pitchFamily="34" charset="0"/>
              </a:rPr>
              <a:t>homogéneo</a:t>
            </a:r>
            <a:r>
              <a:rPr lang="es-ES" altLang="es-ES" sz="2400" dirty="0" smtClean="0">
                <a:latin typeface="Calibri" panose="020F0502020204030204" pitchFamily="34" charset="0"/>
              </a:rPr>
              <a:t> para el sector, que </a:t>
            </a:r>
            <a:r>
              <a:rPr lang="es-ES" altLang="es-ES" sz="2400" b="1" dirty="0" smtClean="0">
                <a:latin typeface="Calibri" panose="020F0502020204030204" pitchFamily="34" charset="0"/>
              </a:rPr>
              <a:t>asegure la calidad </a:t>
            </a:r>
            <a:r>
              <a:rPr lang="es-ES" altLang="es-ES" sz="2400" dirty="0" smtClean="0">
                <a:latin typeface="Calibri" panose="020F0502020204030204" pitchFamily="34" charset="0"/>
              </a:rPr>
              <a:t>de los contenidos impartidos y el </a:t>
            </a:r>
            <a:r>
              <a:rPr lang="es-ES" altLang="es-ES" sz="2400" b="1" dirty="0" smtClean="0">
                <a:latin typeface="Calibri" panose="020F0502020204030204" pitchFamily="34" charset="0"/>
              </a:rPr>
              <a:t>control</a:t>
            </a:r>
            <a:r>
              <a:rPr lang="es-ES" altLang="es-ES" sz="2400" dirty="0" smtClean="0">
                <a:latin typeface="Calibri" panose="020F0502020204030204" pitchFamily="34" charset="0"/>
              </a:rPr>
              <a:t> de las empresas formadoras.</a:t>
            </a:r>
          </a:p>
        </p:txBody>
      </p:sp>
      <p:sp>
        <p:nvSpPr>
          <p:cNvPr id="7" name="6 CuadroTexto">
            <a:extLst>
              <a:ext uri="{FF2B5EF4-FFF2-40B4-BE49-F238E27FC236}">
                <a16:creationId xmlns:a16="http://schemas.microsoft.com/office/drawing/2014/main" id="{4BA4AD3E-79E1-4F83-8354-50C3C8D68C89}"/>
              </a:ext>
            </a:extLst>
          </p:cNvPr>
          <p:cNvSpPr txBox="1"/>
          <p:nvPr/>
        </p:nvSpPr>
        <p:spPr bwMode="auto">
          <a:xfrm>
            <a:off x="3674377" y="1947159"/>
            <a:ext cx="1402591" cy="420564"/>
          </a:xfrm>
          <a:prstGeom prst="rect">
            <a:avLst/>
          </a:prstGeom>
          <a:solidFill>
            <a:srgbClr val="009999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s-ES" sz="2133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TIVO</a:t>
            </a:r>
          </a:p>
        </p:txBody>
      </p:sp>
      <p:sp>
        <p:nvSpPr>
          <p:cNvPr id="11" name="6 CuadroTexto">
            <a:extLst>
              <a:ext uri="{FF2B5EF4-FFF2-40B4-BE49-F238E27FC236}">
                <a16:creationId xmlns:a16="http://schemas.microsoft.com/office/drawing/2014/main" id="{F67C3085-62F9-433E-8E3C-4D90D4185C2D}"/>
              </a:ext>
            </a:extLst>
          </p:cNvPr>
          <p:cNvSpPr txBox="1"/>
          <p:nvPr/>
        </p:nvSpPr>
        <p:spPr bwMode="auto">
          <a:xfrm>
            <a:off x="3674377" y="4847283"/>
            <a:ext cx="1402591" cy="420564"/>
          </a:xfrm>
          <a:prstGeom prst="rect">
            <a:avLst/>
          </a:prstGeom>
          <a:solidFill>
            <a:srgbClr val="009999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s-ES" sz="2133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CANCE</a:t>
            </a:r>
            <a:endParaRPr lang="es-ES" sz="21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1 Rectángulo">
            <a:extLst>
              <a:ext uri="{FF2B5EF4-FFF2-40B4-BE49-F238E27FC236}">
                <a16:creationId xmlns:a16="http://schemas.microsoft.com/office/drawing/2014/main" id="{F62A6EF8-2E29-4C29-9BA3-62A6FB88D2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090" y="1081292"/>
            <a:ext cx="779972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just" eaLnBrk="1" hangingPunct="1"/>
            <a:r>
              <a:rPr lang="es-ES" altLang="es-ES" sz="2400" b="1" dirty="0" smtClean="0">
                <a:latin typeface="Calibri" panose="020F0502020204030204" pitchFamily="34" charset="0"/>
              </a:rPr>
              <a:t>Seguir reduciendo el riesgo de accidente laboral </a:t>
            </a:r>
            <a:r>
              <a:rPr lang="es-ES" altLang="es-ES" sz="2400" dirty="0" smtClean="0">
                <a:latin typeface="Calibri" panose="020F0502020204030204" pitchFamily="34" charset="0"/>
              </a:rPr>
              <a:t>en el sector de las Telecomunicaciones en España.</a:t>
            </a:r>
            <a:endParaRPr lang="es-ES" altLang="es-ES" sz="2400" dirty="0">
              <a:latin typeface="Calibri" panose="020F0502020204030204" pitchFamily="34" charset="0"/>
            </a:endParaRPr>
          </a:p>
        </p:txBody>
      </p:sp>
      <p:sp>
        <p:nvSpPr>
          <p:cNvPr id="13" name="6 CuadroTexto">
            <a:extLst>
              <a:ext uri="{FF2B5EF4-FFF2-40B4-BE49-F238E27FC236}">
                <a16:creationId xmlns:a16="http://schemas.microsoft.com/office/drawing/2014/main" id="{4BA4AD3E-79E1-4F83-8354-50C3C8D68C89}"/>
              </a:ext>
            </a:extLst>
          </p:cNvPr>
          <p:cNvSpPr txBox="1"/>
          <p:nvPr/>
        </p:nvSpPr>
        <p:spPr bwMode="auto">
          <a:xfrm>
            <a:off x="3674377" y="795545"/>
            <a:ext cx="1402591" cy="420564"/>
          </a:xfrm>
          <a:prstGeom prst="rect">
            <a:avLst/>
          </a:prstGeom>
          <a:solidFill>
            <a:srgbClr val="009999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s-ES" sz="2133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A</a:t>
            </a:r>
            <a:endParaRPr lang="es-ES" sz="2133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1 Título">
            <a:extLst>
              <a:ext uri="{FF2B5EF4-FFF2-40B4-BE49-F238E27FC236}">
                <a16:creationId xmlns:a16="http://schemas.microsoft.com/office/drawing/2014/main" id="{78771433-3616-4387-B958-F64A1DC60B47}"/>
              </a:ext>
            </a:extLst>
          </p:cNvPr>
          <p:cNvSpPr txBox="1">
            <a:spLocks/>
          </p:cNvSpPr>
          <p:nvPr/>
        </p:nvSpPr>
        <p:spPr bwMode="auto">
          <a:xfrm>
            <a:off x="337864" y="11482"/>
            <a:ext cx="11487954" cy="671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Acuerdo</a:t>
            </a:r>
            <a:r>
              <a:rPr lang="es-ES" altLang="es-ES" sz="4000" b="1" dirty="0" smtClean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 smtClean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 smtClean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Formación: </a:t>
            </a:r>
            <a:r>
              <a:rPr lang="es-ES" altLang="es-ES" sz="3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eta, Objetivo y Alcance</a:t>
            </a:r>
            <a:endParaRPr lang="es-ES" altLang="es-ES" sz="36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8" r="4642"/>
          <a:stretch/>
        </p:blipFill>
        <p:spPr>
          <a:xfrm>
            <a:off x="0" y="795545"/>
            <a:ext cx="3493827" cy="6062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3 CuadroTexto">
            <a:extLst>
              <a:ext uri="{FF2B5EF4-FFF2-40B4-BE49-F238E27FC236}">
                <a16:creationId xmlns:a16="http://schemas.microsoft.com/office/drawing/2014/main" id="{320088B7-CC03-4DAD-92DF-183412F7E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787" y="683942"/>
            <a:ext cx="8125553" cy="532453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b="1" dirty="0">
                <a:latin typeface="Calibri" panose="020F0502020204030204" pitchFamily="34" charset="0"/>
              </a:rPr>
              <a:t>2017 </a:t>
            </a:r>
            <a:r>
              <a:rPr lang="es-ES" altLang="es-ES" sz="2000" b="1" dirty="0" smtClean="0">
                <a:latin typeface="Calibri" panose="020F0502020204030204" pitchFamily="34" charset="0"/>
              </a:rPr>
              <a:t>creación del </a:t>
            </a:r>
            <a:r>
              <a:rPr lang="es-ES" altLang="es-ES" sz="2000" b="1" dirty="0">
                <a:latin typeface="Calibri" panose="020F0502020204030204" pitchFamily="34" charset="0"/>
              </a:rPr>
              <a:t>Grupo de </a:t>
            </a:r>
            <a:r>
              <a:rPr lang="es-ES" altLang="es-ES" sz="2000" b="1" dirty="0" smtClean="0">
                <a:latin typeface="Calibri" panose="020F0502020204030204" pitchFamily="34" charset="0"/>
              </a:rPr>
              <a:t>Trabajo:</a:t>
            </a:r>
            <a:r>
              <a:rPr lang="es-ES" altLang="es-ES" sz="2000" dirty="0" smtClean="0">
                <a:latin typeface="Calibri" panose="020F0502020204030204" pitchFamily="34" charset="0"/>
              </a:rPr>
              <a:t> Operadoras  </a:t>
            </a:r>
            <a:r>
              <a:rPr lang="es-ES" altLang="es-ES" sz="2000" dirty="0">
                <a:latin typeface="Calibri" panose="020F0502020204030204" pitchFamily="34" charset="0"/>
              </a:rPr>
              <a:t>y Empresas Colaboradoras del Sector, </a:t>
            </a:r>
            <a:r>
              <a:rPr lang="es-ES" altLang="es-ES" sz="2000" dirty="0" smtClean="0">
                <a:latin typeface="Calibri" panose="020F0502020204030204" pitchFamily="34" charset="0"/>
              </a:rPr>
              <a:t>tomaron la decisión de subir el nivel de exigencia de la formación PRL del sector.</a:t>
            </a:r>
          </a:p>
          <a:p>
            <a:pPr algn="just" eaLnBrk="1" hangingPunct="1">
              <a:buClr>
                <a:srgbClr val="33CCCC"/>
              </a:buClr>
              <a:defRPr/>
            </a:pPr>
            <a:endParaRPr lang="es-ES" altLang="es-ES" sz="2000" dirty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b="1" dirty="0">
                <a:latin typeface="Calibri" panose="020F0502020204030204" pitchFamily="34" charset="0"/>
              </a:rPr>
              <a:t>En 2018 se </a:t>
            </a:r>
            <a:r>
              <a:rPr lang="es-ES" altLang="es-ES" sz="2000" b="1" dirty="0" smtClean="0">
                <a:latin typeface="Calibri" panose="020F0502020204030204" pitchFamily="34" charset="0"/>
              </a:rPr>
              <a:t>firmó </a:t>
            </a:r>
            <a:r>
              <a:rPr lang="es-ES" altLang="es-ES" sz="2000" b="1" dirty="0">
                <a:latin typeface="Calibri" panose="020F0502020204030204" pitchFamily="34" charset="0"/>
              </a:rPr>
              <a:t>el acuerdo</a:t>
            </a:r>
            <a:r>
              <a:rPr lang="es-ES" altLang="es-ES" sz="2000" dirty="0">
                <a:latin typeface="Calibri" panose="020F0502020204030204" pitchFamily="34" charset="0"/>
              </a:rPr>
              <a:t>, con los primeros  contenidos de los cursos y  tiempos de transición: </a:t>
            </a:r>
            <a:endParaRPr lang="es-ES" altLang="es-ES" sz="2000" dirty="0" smtClean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 smtClean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 smtClean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b="1" dirty="0" smtClean="0">
                <a:latin typeface="Calibri" panose="020F0502020204030204" pitchFamily="34" charset="0"/>
              </a:rPr>
              <a:t>De </a:t>
            </a:r>
            <a:r>
              <a:rPr lang="es-ES" altLang="es-ES" sz="2000" b="1" dirty="0">
                <a:latin typeface="Calibri" panose="020F0502020204030204" pitchFamily="34" charset="0"/>
              </a:rPr>
              <a:t>2018 a </a:t>
            </a:r>
            <a:r>
              <a:rPr lang="es-ES" altLang="es-ES" sz="2000" b="1" dirty="0" smtClean="0">
                <a:latin typeface="Calibri" panose="020F0502020204030204" pitchFamily="34" charset="0"/>
              </a:rPr>
              <a:t>2020,</a:t>
            </a:r>
            <a:r>
              <a:rPr lang="es-ES" altLang="es-ES" sz="2000" dirty="0" smtClean="0">
                <a:latin typeface="Calibri" panose="020F0502020204030204" pitchFamily="34" charset="0"/>
              </a:rPr>
              <a:t> </a:t>
            </a:r>
            <a:r>
              <a:rPr lang="es-ES" altLang="es-ES" sz="2000" dirty="0">
                <a:latin typeface="Calibri" panose="020F0502020204030204" pitchFamily="34" charset="0"/>
              </a:rPr>
              <a:t>f</a:t>
            </a:r>
            <a:r>
              <a:rPr lang="es-ES" altLang="es-ES" sz="2000" dirty="0" smtClean="0">
                <a:latin typeface="Calibri" panose="020F0502020204030204" pitchFamily="34" charset="0"/>
              </a:rPr>
              <a:t>ormando ya parte </a:t>
            </a:r>
            <a:r>
              <a:rPr lang="es-ES" altLang="es-ES" sz="2000" dirty="0">
                <a:latin typeface="Calibri" panose="020F0502020204030204" pitchFamily="34" charset="0"/>
              </a:rPr>
              <a:t>de Digitales, </a:t>
            </a:r>
            <a:r>
              <a:rPr lang="es-ES" altLang="es-ES" sz="2000" dirty="0" smtClean="0">
                <a:latin typeface="Calibri" panose="020F0502020204030204" pitchFamily="34" charset="0"/>
              </a:rPr>
              <a:t>se ha </a:t>
            </a:r>
            <a:r>
              <a:rPr lang="es-ES" altLang="es-ES" sz="2000" dirty="0">
                <a:latin typeface="Calibri" panose="020F0502020204030204" pitchFamily="34" charset="0"/>
              </a:rPr>
              <a:t>trabajado en reuniones periódicas para seguir avanzando en resolver dudas, aclarar contenidos y preparar  los contenidos de los nuevos cursos del </a:t>
            </a:r>
            <a:r>
              <a:rPr lang="es-ES" altLang="es-ES" sz="2000" dirty="0" smtClean="0">
                <a:latin typeface="Calibri" panose="020F0502020204030204" pitchFamily="34" charset="0"/>
              </a:rPr>
              <a:t>Acuerdo.</a:t>
            </a: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endParaRPr lang="es-ES" altLang="es-ES" sz="2000" dirty="0">
              <a:latin typeface="Calibri" panose="020F0502020204030204" pitchFamily="34" charset="0"/>
            </a:endParaRPr>
          </a:p>
          <a:p>
            <a:pPr marL="342900" indent="-342900" algn="just" eaLnBrk="1" hangingPunct="1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b="1" dirty="0">
                <a:latin typeface="Calibri" panose="020F0502020204030204" pitchFamily="34" charset="0"/>
              </a:rPr>
              <a:t>Enero de 2021 </a:t>
            </a:r>
            <a:r>
              <a:rPr lang="es-ES" altLang="es-ES" sz="2000" dirty="0">
                <a:latin typeface="Calibri" panose="020F0502020204030204" pitchFamily="34" charset="0"/>
              </a:rPr>
              <a:t>y bajo el paraguas de </a:t>
            </a:r>
            <a:r>
              <a:rPr lang="es-ES" altLang="es-ES" sz="2000" b="1" dirty="0">
                <a:latin typeface="Calibri" panose="020F0502020204030204" pitchFamily="34" charset="0"/>
              </a:rPr>
              <a:t>Digitales</a:t>
            </a:r>
            <a:r>
              <a:rPr lang="es-ES" altLang="es-ES" sz="2000" dirty="0">
                <a:latin typeface="Calibri" panose="020F0502020204030204" pitchFamily="34" charset="0"/>
              </a:rPr>
              <a:t>, se ha renovado el acuerdo, incluyendo</a:t>
            </a:r>
            <a:r>
              <a:rPr lang="es-ES" altLang="es-ES" sz="2000" dirty="0" smtClean="0">
                <a:latin typeface="Calibri" panose="020F0502020204030204" pitchFamily="34" charset="0"/>
              </a:rPr>
              <a:t>:</a:t>
            </a:r>
            <a:endParaRPr lang="es-ES" altLang="es-ES" sz="2000" dirty="0">
              <a:latin typeface="Calibri" panose="020F0502020204030204" pitchFamily="34" charset="0"/>
            </a:endParaRPr>
          </a:p>
        </p:txBody>
      </p:sp>
      <p:pic>
        <p:nvPicPr>
          <p:cNvPr id="16389" name="1 Imagen">
            <a:extLst>
              <a:ext uri="{FF2B5EF4-FFF2-40B4-BE49-F238E27FC236}">
                <a16:creationId xmlns:a16="http://schemas.microsoft.com/office/drawing/2014/main" id="{E679541A-BA38-422A-9330-C4CD936D37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025" y="1878824"/>
            <a:ext cx="1604433" cy="781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0" name="2 Imagen">
            <a:extLst>
              <a:ext uri="{FF2B5EF4-FFF2-40B4-BE49-F238E27FC236}">
                <a16:creationId xmlns:a16="http://schemas.microsoft.com/office/drawing/2014/main" id="{A6C18F47-C62E-4538-AF68-F74A7DCDAA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00" t="15395" r="16676" b="9021"/>
          <a:stretch>
            <a:fillRect/>
          </a:stretch>
        </p:blipFill>
        <p:spPr bwMode="auto">
          <a:xfrm>
            <a:off x="10783425" y="4420926"/>
            <a:ext cx="869951" cy="908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1" name="3 Imagen">
            <a:extLst>
              <a:ext uri="{FF2B5EF4-FFF2-40B4-BE49-F238E27FC236}">
                <a16:creationId xmlns:a16="http://schemas.microsoft.com/office/drawing/2014/main" id="{089E0094-6719-43B8-A8D1-DEDDA846E76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19" t="11390" r="17252" b="16246"/>
          <a:stretch/>
        </p:blipFill>
        <p:spPr bwMode="auto">
          <a:xfrm>
            <a:off x="10687772" y="5263978"/>
            <a:ext cx="1129889" cy="729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4 Imagen">
            <a:extLst>
              <a:ext uri="{FF2B5EF4-FFF2-40B4-BE49-F238E27FC236}">
                <a16:creationId xmlns:a16="http://schemas.microsoft.com/office/drawing/2014/main" id="{DBCCEC06-0915-4C36-953D-D5B7C7683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319" y="5397179"/>
            <a:ext cx="1858259" cy="662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5 Imagen">
            <a:extLst>
              <a:ext uri="{FF2B5EF4-FFF2-40B4-BE49-F238E27FC236}">
                <a16:creationId xmlns:a16="http://schemas.microsoft.com/office/drawing/2014/main" id="{E7E80252-B6C3-4A7A-AC28-94BDCB6020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13"/>
          <a:stretch>
            <a:fillRect/>
          </a:stretch>
        </p:blipFill>
        <p:spPr bwMode="auto">
          <a:xfrm>
            <a:off x="8679155" y="3195637"/>
            <a:ext cx="1606551" cy="5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4" name="7 Imagen">
            <a:extLst>
              <a:ext uri="{FF2B5EF4-FFF2-40B4-BE49-F238E27FC236}">
                <a16:creationId xmlns:a16="http://schemas.microsoft.com/office/drawing/2014/main" id="{04391115-2857-462E-86BD-604E42D8E8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11" t="25706" r="6114" b="31770"/>
          <a:stretch>
            <a:fillRect/>
          </a:stretch>
        </p:blipFill>
        <p:spPr bwMode="auto">
          <a:xfrm>
            <a:off x="10400732" y="2598479"/>
            <a:ext cx="1635339" cy="495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5" name="8 Imagen">
            <a:extLst>
              <a:ext uri="{FF2B5EF4-FFF2-40B4-BE49-F238E27FC236}">
                <a16:creationId xmlns:a16="http://schemas.microsoft.com/office/drawing/2014/main" id="{8CE8C483-2133-4083-B1BF-15342E8368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38" b="20233"/>
          <a:stretch>
            <a:fillRect/>
          </a:stretch>
        </p:blipFill>
        <p:spPr bwMode="auto">
          <a:xfrm>
            <a:off x="8841287" y="3980702"/>
            <a:ext cx="1604433" cy="45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10 Imagen">
            <a:extLst>
              <a:ext uri="{FF2B5EF4-FFF2-40B4-BE49-F238E27FC236}">
                <a16:creationId xmlns:a16="http://schemas.microsoft.com/office/drawing/2014/main" id="{C435F6DC-B54D-4792-AA58-FF46E09B7D7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6" t="19186" r="7909" b="23000"/>
          <a:stretch>
            <a:fillRect/>
          </a:stretch>
        </p:blipFill>
        <p:spPr bwMode="auto">
          <a:xfrm>
            <a:off x="9028125" y="4643546"/>
            <a:ext cx="1390649" cy="46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7" name="12 Imagen">
            <a:extLst>
              <a:ext uri="{FF2B5EF4-FFF2-40B4-BE49-F238E27FC236}">
                <a16:creationId xmlns:a16="http://schemas.microsoft.com/office/drawing/2014/main" id="{98EB9862-D35B-4C80-A62D-072D8F95A5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1287" y="2659873"/>
            <a:ext cx="1301728" cy="397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9" name="1 Imagen">
            <a:extLst>
              <a:ext uri="{FF2B5EF4-FFF2-40B4-BE49-F238E27FC236}">
                <a16:creationId xmlns:a16="http://schemas.microsoft.com/office/drawing/2014/main" id="{DD8200DB-6411-4D0E-9ED9-70B2FC26EFC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7581" y="1870513"/>
            <a:ext cx="1245434" cy="587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D68B42FF-1E20-4606-B7B9-2924C43A81D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775896" y="881113"/>
            <a:ext cx="3292024" cy="78104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93FA67BB-BCEA-4625-BF03-8434E849947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421908" y="3894494"/>
            <a:ext cx="1661619" cy="4633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C63C59D-D413-4F0F-BF08-47E8B30C0DE4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4347" t="-1765" r="9486"/>
          <a:stretch/>
        </p:blipFill>
        <p:spPr>
          <a:xfrm>
            <a:off x="10221457" y="3214200"/>
            <a:ext cx="1934794" cy="680294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 bwMode="auto">
          <a:xfrm>
            <a:off x="658233" y="2607545"/>
            <a:ext cx="278996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800" b="1" u="sng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stablecimiento requisitos</a:t>
            </a:r>
            <a:r>
              <a:rPr lang="es-ES" sz="18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arga horaria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equisitos instalaciones</a:t>
            </a:r>
          </a:p>
          <a:p>
            <a:pPr marL="285750" indent="-285750" algn="l" eaLnBrk="1" hangingPunct="1">
              <a:buFont typeface="Arial" panose="020B0604020202020204" pitchFamily="34" charset="0"/>
              <a:buChar char="•"/>
            </a:pPr>
            <a:r>
              <a:rPr lang="es-ES" sz="1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atio formador/alumno</a:t>
            </a:r>
            <a:endParaRPr lang="es-ES" sz="18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CuadroTexto 18"/>
          <p:cNvSpPr txBox="1"/>
          <p:nvPr/>
        </p:nvSpPr>
        <p:spPr bwMode="auto">
          <a:xfrm>
            <a:off x="3621804" y="2593059"/>
            <a:ext cx="3121751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800" b="1" u="sng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rocedimiento homologación</a:t>
            </a:r>
            <a:r>
              <a:rPr lang="es-E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 algn="l" eaLnBrk="1" hangingPunct="1"/>
            <a:r>
              <a:rPr lang="es-ES" sz="1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iseño de proceso de acreditación ejecutado por </a:t>
            </a:r>
            <a:r>
              <a:rPr lang="es-ES" sz="18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enor</a:t>
            </a:r>
            <a:r>
              <a:rPr lang="es-ES" sz="1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y </a:t>
            </a:r>
            <a:r>
              <a:rPr lang="es-ES" sz="1800" dirty="0" err="1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udelco</a:t>
            </a:r>
            <a:endParaRPr lang="es-ES" sz="18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 bwMode="auto">
          <a:xfrm>
            <a:off x="6724981" y="2579454"/>
            <a:ext cx="205091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b="1" u="sng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Definición cursos</a:t>
            </a:r>
            <a:r>
              <a:rPr lang="es-ES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:</a:t>
            </a:r>
          </a:p>
          <a:p>
            <a:pPr algn="l" eaLnBrk="1" hangingPunct="1"/>
            <a:r>
              <a:rPr lang="es-ES" sz="1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n función tipo de trabajos del sector.</a:t>
            </a:r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516" y="146412"/>
            <a:ext cx="1438338" cy="223644"/>
          </a:xfrm>
          <a:prstGeom prst="rect">
            <a:avLst/>
          </a:prstGeom>
        </p:spPr>
      </p:pic>
      <p:sp>
        <p:nvSpPr>
          <p:cNvPr id="22" name="1 Título">
            <a:extLst>
              <a:ext uri="{FF2B5EF4-FFF2-40B4-BE49-F238E27FC236}">
                <a16:creationId xmlns:a16="http://schemas.microsoft.com/office/drawing/2014/main" id="{78771433-3616-4387-B958-F64A1DC60B47}"/>
              </a:ext>
            </a:extLst>
          </p:cNvPr>
          <p:cNvSpPr txBox="1">
            <a:spLocks/>
          </p:cNvSpPr>
          <p:nvPr/>
        </p:nvSpPr>
        <p:spPr bwMode="auto">
          <a:xfrm>
            <a:off x="337864" y="11482"/>
            <a:ext cx="8690261" cy="671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Acuerdo</a:t>
            </a:r>
            <a:r>
              <a:rPr lang="es-ES" altLang="es-ES" sz="4000" b="1" dirty="0" smtClean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 smtClean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 smtClean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Formación: </a:t>
            </a:r>
            <a:r>
              <a:rPr lang="es-ES" altLang="es-ES" sz="36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Timeline</a:t>
            </a:r>
            <a:endParaRPr lang="es-ES" altLang="es-ES" sz="36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58233" y="683942"/>
            <a:ext cx="4623451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4" name="Rectángulo 23"/>
          <p:cNvSpPr/>
          <p:nvPr/>
        </p:nvSpPr>
        <p:spPr>
          <a:xfrm>
            <a:off x="658233" y="1888765"/>
            <a:ext cx="3067606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5" name="Rectángulo 24"/>
          <p:cNvSpPr/>
          <p:nvPr/>
        </p:nvSpPr>
        <p:spPr>
          <a:xfrm>
            <a:off x="658232" y="4017951"/>
            <a:ext cx="1921195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Rectángulo 25"/>
          <p:cNvSpPr/>
          <p:nvPr/>
        </p:nvSpPr>
        <p:spPr>
          <a:xfrm>
            <a:off x="658233" y="5226586"/>
            <a:ext cx="1580000" cy="380583"/>
          </a:xfrm>
          <a:prstGeom prst="rect">
            <a:avLst/>
          </a:prstGeom>
          <a:solidFill>
            <a:srgbClr val="009999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3 CuadroTexto">
            <a:extLst>
              <a:ext uri="{FF2B5EF4-FFF2-40B4-BE49-F238E27FC236}">
                <a16:creationId xmlns:a16="http://schemas.microsoft.com/office/drawing/2014/main" id="{320088B7-CC03-4DAD-92DF-183412F7E9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5710" y="5639305"/>
            <a:ext cx="4649271" cy="10156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 algn="ctr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marL="261938" lvl="1" indent="-261938" algn="just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dirty="0" smtClean="0">
                <a:latin typeface="Calibri" panose="020F0502020204030204" pitchFamily="34" charset="0"/>
              </a:rPr>
              <a:t>Contenidos </a:t>
            </a:r>
            <a:r>
              <a:rPr lang="es-ES" altLang="es-ES" sz="2000" dirty="0">
                <a:latin typeface="Calibri" panose="020F0502020204030204" pitchFamily="34" charset="0"/>
              </a:rPr>
              <a:t>de los cursos de reciclaje </a:t>
            </a:r>
            <a:endParaRPr lang="es-ES" altLang="es-ES" sz="2000" dirty="0" smtClean="0">
              <a:latin typeface="Calibri" panose="020F0502020204030204" pitchFamily="34" charset="0"/>
            </a:endParaRPr>
          </a:p>
          <a:p>
            <a:pPr marL="261938" lvl="1" indent="-261938" algn="just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dirty="0" smtClean="0">
                <a:latin typeface="Calibri" panose="020F0502020204030204" pitchFamily="34" charset="0"/>
              </a:rPr>
              <a:t>Trabajos </a:t>
            </a:r>
            <a:r>
              <a:rPr lang="es-ES" altLang="es-ES" sz="2000" dirty="0">
                <a:latin typeface="Calibri" panose="020F0502020204030204" pitchFamily="34" charset="0"/>
              </a:rPr>
              <a:t>en Altura PRL-TELCO 3</a:t>
            </a:r>
          </a:p>
          <a:p>
            <a:pPr marL="261938" lvl="1" indent="-261938" algn="just">
              <a:buClr>
                <a:srgbClr val="33CCCC"/>
              </a:buClr>
              <a:buFont typeface="Wingdings" panose="05000000000000000000" pitchFamily="2" charset="2"/>
              <a:buChar char="§"/>
              <a:defRPr/>
            </a:pPr>
            <a:r>
              <a:rPr lang="es-ES" altLang="es-ES" sz="2000" dirty="0">
                <a:latin typeface="Calibri" panose="020F0502020204030204" pitchFamily="34" charset="0"/>
              </a:rPr>
              <a:t>Rescate en alturas TELC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20 CuadroTexto">
            <a:extLst>
              <a:ext uri="{FF2B5EF4-FFF2-40B4-BE49-F238E27FC236}">
                <a16:creationId xmlns:a16="http://schemas.microsoft.com/office/drawing/2014/main" id="{F4C4D433-E604-498D-BD94-4C41BC3C21A2}"/>
              </a:ext>
            </a:extLst>
          </p:cNvPr>
          <p:cNvSpPr txBox="1"/>
          <p:nvPr/>
        </p:nvSpPr>
        <p:spPr bwMode="auto">
          <a:xfrm>
            <a:off x="321734" y="1250951"/>
            <a:ext cx="11518900" cy="913199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algn="just" eaLnBrk="1" hangingPunct="1">
              <a:defRPr/>
            </a:pPr>
            <a:r>
              <a:rPr lang="es-ES" sz="2667" dirty="0">
                <a:latin typeface="Calibri" panose="020F0502020204030204" pitchFamily="34" charset="0"/>
                <a:cs typeface="Calibri" panose="020F0502020204030204" pitchFamily="34" charset="0"/>
              </a:rPr>
              <a:t>Los programas de capacitación homologados basados en un  estándar de contenidos para la formación mínima en seguridad son los siguientes:</a:t>
            </a:r>
          </a:p>
        </p:txBody>
      </p:sp>
      <p:sp>
        <p:nvSpPr>
          <p:cNvPr id="23" name="3 Rectángulo redondeado">
            <a:extLst>
              <a:ext uri="{FF2B5EF4-FFF2-40B4-BE49-F238E27FC236}">
                <a16:creationId xmlns:a16="http://schemas.microsoft.com/office/drawing/2014/main" id="{E2CCF3A9-4253-40F3-8A9B-82722F57A770}"/>
              </a:ext>
            </a:extLst>
          </p:cNvPr>
          <p:cNvSpPr/>
          <p:nvPr/>
        </p:nvSpPr>
        <p:spPr>
          <a:xfrm>
            <a:off x="463551" y="2565401"/>
            <a:ext cx="2216149" cy="1824567"/>
          </a:xfrm>
          <a:custGeom>
            <a:avLst/>
            <a:gdLst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160240 w 2160240"/>
              <a:gd name="connsiteY4" fmla="*/ 360039 h 432048"/>
              <a:gd name="connsiteX5" fmla="*/ 2088231 w 2160240"/>
              <a:gd name="connsiteY5" fmla="*/ 432048 h 432048"/>
              <a:gd name="connsiteX6" fmla="*/ 72009 w 2160240"/>
              <a:gd name="connsiteY6" fmla="*/ 432048 h 432048"/>
              <a:gd name="connsiteX7" fmla="*/ 0 w 2160240"/>
              <a:gd name="connsiteY7" fmla="*/ 360039 h 432048"/>
              <a:gd name="connsiteX8" fmla="*/ 0 w 2160240"/>
              <a:gd name="connsiteY8" fmla="*/ 72009 h 432048"/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088231 w 2160240"/>
              <a:gd name="connsiteY4" fmla="*/ 432048 h 432048"/>
              <a:gd name="connsiteX5" fmla="*/ 72009 w 2160240"/>
              <a:gd name="connsiteY5" fmla="*/ 432048 h 432048"/>
              <a:gd name="connsiteX6" fmla="*/ 0 w 2160240"/>
              <a:gd name="connsiteY6" fmla="*/ 360039 h 432048"/>
              <a:gd name="connsiteX7" fmla="*/ 0 w 2160240"/>
              <a:gd name="connsiteY7" fmla="*/ 72009 h 432048"/>
              <a:gd name="connsiteX0" fmla="*/ 0 w 2392996"/>
              <a:gd name="connsiteY0" fmla="*/ 72009 h 432048"/>
              <a:gd name="connsiteX1" fmla="*/ 72009 w 2392996"/>
              <a:gd name="connsiteY1" fmla="*/ 0 h 432048"/>
              <a:gd name="connsiteX2" fmla="*/ 2088231 w 2392996"/>
              <a:gd name="connsiteY2" fmla="*/ 0 h 432048"/>
              <a:gd name="connsiteX3" fmla="*/ 2392996 w 2392996"/>
              <a:gd name="connsiteY3" fmla="*/ 232721 h 432048"/>
              <a:gd name="connsiteX4" fmla="*/ 2088231 w 2392996"/>
              <a:gd name="connsiteY4" fmla="*/ 432048 h 432048"/>
              <a:gd name="connsiteX5" fmla="*/ 72009 w 2392996"/>
              <a:gd name="connsiteY5" fmla="*/ 432048 h 432048"/>
              <a:gd name="connsiteX6" fmla="*/ 0 w 2392996"/>
              <a:gd name="connsiteY6" fmla="*/ 360039 h 432048"/>
              <a:gd name="connsiteX7" fmla="*/ 0 w 2392996"/>
              <a:gd name="connsiteY7" fmla="*/ 72009 h 432048"/>
              <a:gd name="connsiteX0" fmla="*/ 0 w 2426247"/>
              <a:gd name="connsiteY0" fmla="*/ 72009 h 432048"/>
              <a:gd name="connsiteX1" fmla="*/ 72009 w 2426247"/>
              <a:gd name="connsiteY1" fmla="*/ 0 h 432048"/>
              <a:gd name="connsiteX2" fmla="*/ 2088231 w 2426247"/>
              <a:gd name="connsiteY2" fmla="*/ 0 h 432048"/>
              <a:gd name="connsiteX3" fmla="*/ 2426247 w 2426247"/>
              <a:gd name="connsiteY3" fmla="*/ 227179 h 432048"/>
              <a:gd name="connsiteX4" fmla="*/ 2088231 w 2426247"/>
              <a:gd name="connsiteY4" fmla="*/ 432048 h 432048"/>
              <a:gd name="connsiteX5" fmla="*/ 72009 w 2426247"/>
              <a:gd name="connsiteY5" fmla="*/ 432048 h 432048"/>
              <a:gd name="connsiteX6" fmla="*/ 0 w 2426247"/>
              <a:gd name="connsiteY6" fmla="*/ 360039 h 432048"/>
              <a:gd name="connsiteX7" fmla="*/ 0 w 2426247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22717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19946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145 h 432184"/>
              <a:gd name="connsiteX1" fmla="*/ 72009 w 2426291"/>
              <a:gd name="connsiteY1" fmla="*/ 136 h 432184"/>
              <a:gd name="connsiteX2" fmla="*/ 2088231 w 2426291"/>
              <a:gd name="connsiteY2" fmla="*/ 136 h 432184"/>
              <a:gd name="connsiteX3" fmla="*/ 2426247 w 2426291"/>
              <a:gd name="connsiteY3" fmla="*/ 199605 h 432184"/>
              <a:gd name="connsiteX4" fmla="*/ 2088231 w 2426291"/>
              <a:gd name="connsiteY4" fmla="*/ 432184 h 432184"/>
              <a:gd name="connsiteX5" fmla="*/ 72009 w 2426291"/>
              <a:gd name="connsiteY5" fmla="*/ 432184 h 432184"/>
              <a:gd name="connsiteX6" fmla="*/ 0 w 2426291"/>
              <a:gd name="connsiteY6" fmla="*/ 360175 h 432184"/>
              <a:gd name="connsiteX7" fmla="*/ 0 w 2426291"/>
              <a:gd name="connsiteY7" fmla="*/ 72145 h 432184"/>
              <a:gd name="connsiteX0" fmla="*/ 0 w 2426277"/>
              <a:gd name="connsiteY0" fmla="*/ 72145 h 432184"/>
              <a:gd name="connsiteX1" fmla="*/ 72009 w 2426277"/>
              <a:gd name="connsiteY1" fmla="*/ 136 h 432184"/>
              <a:gd name="connsiteX2" fmla="*/ 2088231 w 2426277"/>
              <a:gd name="connsiteY2" fmla="*/ 136 h 432184"/>
              <a:gd name="connsiteX3" fmla="*/ 2426247 w 2426277"/>
              <a:gd name="connsiteY3" fmla="*/ 199605 h 432184"/>
              <a:gd name="connsiteX4" fmla="*/ 2088231 w 2426277"/>
              <a:gd name="connsiteY4" fmla="*/ 432184 h 432184"/>
              <a:gd name="connsiteX5" fmla="*/ 72009 w 2426277"/>
              <a:gd name="connsiteY5" fmla="*/ 432184 h 432184"/>
              <a:gd name="connsiteX6" fmla="*/ 0 w 2426277"/>
              <a:gd name="connsiteY6" fmla="*/ 360175 h 432184"/>
              <a:gd name="connsiteX7" fmla="*/ 0 w 2426277"/>
              <a:gd name="connsiteY7" fmla="*/ 72145 h 432184"/>
              <a:gd name="connsiteX0" fmla="*/ 0 w 2426277"/>
              <a:gd name="connsiteY0" fmla="*/ 72120 h 432159"/>
              <a:gd name="connsiteX1" fmla="*/ 72009 w 2426277"/>
              <a:gd name="connsiteY1" fmla="*/ 111 h 432159"/>
              <a:gd name="connsiteX2" fmla="*/ 2088231 w 2426277"/>
              <a:gd name="connsiteY2" fmla="*/ 111 h 432159"/>
              <a:gd name="connsiteX3" fmla="*/ 2426247 w 2426277"/>
              <a:gd name="connsiteY3" fmla="*/ 199580 h 432159"/>
              <a:gd name="connsiteX4" fmla="*/ 2088231 w 2426277"/>
              <a:gd name="connsiteY4" fmla="*/ 432159 h 432159"/>
              <a:gd name="connsiteX5" fmla="*/ 72009 w 2426277"/>
              <a:gd name="connsiteY5" fmla="*/ 432159 h 432159"/>
              <a:gd name="connsiteX6" fmla="*/ 0 w 2426277"/>
              <a:gd name="connsiteY6" fmla="*/ 360150 h 432159"/>
              <a:gd name="connsiteX7" fmla="*/ 0 w 2426277"/>
              <a:gd name="connsiteY7" fmla="*/ 72120 h 432159"/>
              <a:gd name="connsiteX0" fmla="*/ 0 w 2426247"/>
              <a:gd name="connsiteY0" fmla="*/ 72120 h 432159"/>
              <a:gd name="connsiteX1" fmla="*/ 72009 w 2426247"/>
              <a:gd name="connsiteY1" fmla="*/ 111 h 432159"/>
              <a:gd name="connsiteX2" fmla="*/ 2088231 w 2426247"/>
              <a:gd name="connsiteY2" fmla="*/ 111 h 432159"/>
              <a:gd name="connsiteX3" fmla="*/ 2426247 w 2426247"/>
              <a:gd name="connsiteY3" fmla="*/ 199580 h 432159"/>
              <a:gd name="connsiteX4" fmla="*/ 2088231 w 2426247"/>
              <a:gd name="connsiteY4" fmla="*/ 432159 h 432159"/>
              <a:gd name="connsiteX5" fmla="*/ 72009 w 2426247"/>
              <a:gd name="connsiteY5" fmla="*/ 432159 h 432159"/>
              <a:gd name="connsiteX6" fmla="*/ 0 w 2426247"/>
              <a:gd name="connsiteY6" fmla="*/ 360150 h 432159"/>
              <a:gd name="connsiteX7" fmla="*/ 0 w 2426247"/>
              <a:gd name="connsiteY7" fmla="*/ 72120 h 432159"/>
              <a:gd name="connsiteX0" fmla="*/ 0 w 2520458"/>
              <a:gd name="connsiteY0" fmla="*/ 72117 h 432156"/>
              <a:gd name="connsiteX1" fmla="*/ 72009 w 2520458"/>
              <a:gd name="connsiteY1" fmla="*/ 108 h 432156"/>
              <a:gd name="connsiteX2" fmla="*/ 2088231 w 2520458"/>
              <a:gd name="connsiteY2" fmla="*/ 108 h 432156"/>
              <a:gd name="connsiteX3" fmla="*/ 2520458 w 2520458"/>
              <a:gd name="connsiteY3" fmla="*/ 205119 h 432156"/>
              <a:gd name="connsiteX4" fmla="*/ 2088231 w 2520458"/>
              <a:gd name="connsiteY4" fmla="*/ 432156 h 432156"/>
              <a:gd name="connsiteX5" fmla="*/ 72009 w 2520458"/>
              <a:gd name="connsiteY5" fmla="*/ 432156 h 432156"/>
              <a:gd name="connsiteX6" fmla="*/ 0 w 2520458"/>
              <a:gd name="connsiteY6" fmla="*/ 360147 h 432156"/>
              <a:gd name="connsiteX7" fmla="*/ 0 w 2520458"/>
              <a:gd name="connsiteY7" fmla="*/ 72117 h 432156"/>
              <a:gd name="connsiteX0" fmla="*/ 0 w 2583417"/>
              <a:gd name="connsiteY0" fmla="*/ 72116 h 432155"/>
              <a:gd name="connsiteX1" fmla="*/ 72009 w 2583417"/>
              <a:gd name="connsiteY1" fmla="*/ 107 h 432155"/>
              <a:gd name="connsiteX2" fmla="*/ 2088231 w 2583417"/>
              <a:gd name="connsiteY2" fmla="*/ 107 h 432155"/>
              <a:gd name="connsiteX3" fmla="*/ 2583417 w 2583417"/>
              <a:gd name="connsiteY3" fmla="*/ 208116 h 432155"/>
              <a:gd name="connsiteX4" fmla="*/ 2088231 w 2583417"/>
              <a:gd name="connsiteY4" fmla="*/ 432155 h 432155"/>
              <a:gd name="connsiteX5" fmla="*/ 72009 w 2583417"/>
              <a:gd name="connsiteY5" fmla="*/ 432155 h 432155"/>
              <a:gd name="connsiteX6" fmla="*/ 0 w 2583417"/>
              <a:gd name="connsiteY6" fmla="*/ 360146 h 432155"/>
              <a:gd name="connsiteX7" fmla="*/ 0 w 2583417"/>
              <a:gd name="connsiteY7" fmla="*/ 72116 h 432155"/>
              <a:gd name="connsiteX0" fmla="*/ 0 w 2607401"/>
              <a:gd name="connsiteY0" fmla="*/ 72099 h 432138"/>
              <a:gd name="connsiteX1" fmla="*/ 72009 w 2607401"/>
              <a:gd name="connsiteY1" fmla="*/ 90 h 432138"/>
              <a:gd name="connsiteX2" fmla="*/ 2088231 w 2607401"/>
              <a:gd name="connsiteY2" fmla="*/ 90 h 432138"/>
              <a:gd name="connsiteX3" fmla="*/ 2607401 w 2607401"/>
              <a:gd name="connsiteY3" fmla="*/ 250071 h 432138"/>
              <a:gd name="connsiteX4" fmla="*/ 2088231 w 2607401"/>
              <a:gd name="connsiteY4" fmla="*/ 432138 h 432138"/>
              <a:gd name="connsiteX5" fmla="*/ 72009 w 2607401"/>
              <a:gd name="connsiteY5" fmla="*/ 432138 h 432138"/>
              <a:gd name="connsiteX6" fmla="*/ 0 w 2607401"/>
              <a:gd name="connsiteY6" fmla="*/ 360129 h 432138"/>
              <a:gd name="connsiteX7" fmla="*/ 0 w 2607401"/>
              <a:gd name="connsiteY7" fmla="*/ 72099 h 432138"/>
              <a:gd name="connsiteX0" fmla="*/ 0 w 2661365"/>
              <a:gd name="connsiteY0" fmla="*/ 72100 h 432139"/>
              <a:gd name="connsiteX1" fmla="*/ 72009 w 2661365"/>
              <a:gd name="connsiteY1" fmla="*/ 91 h 432139"/>
              <a:gd name="connsiteX2" fmla="*/ 2088231 w 2661365"/>
              <a:gd name="connsiteY2" fmla="*/ 91 h 432139"/>
              <a:gd name="connsiteX3" fmla="*/ 2661365 w 2661365"/>
              <a:gd name="connsiteY3" fmla="*/ 244076 h 432139"/>
              <a:gd name="connsiteX4" fmla="*/ 2088231 w 2661365"/>
              <a:gd name="connsiteY4" fmla="*/ 432139 h 432139"/>
              <a:gd name="connsiteX5" fmla="*/ 72009 w 2661365"/>
              <a:gd name="connsiteY5" fmla="*/ 432139 h 432139"/>
              <a:gd name="connsiteX6" fmla="*/ 0 w 2661365"/>
              <a:gd name="connsiteY6" fmla="*/ 360130 h 432139"/>
              <a:gd name="connsiteX7" fmla="*/ 0 w 2661365"/>
              <a:gd name="connsiteY7" fmla="*/ 72100 h 432139"/>
              <a:gd name="connsiteX0" fmla="*/ 0 w 2598407"/>
              <a:gd name="connsiteY0" fmla="*/ 72109 h 432148"/>
              <a:gd name="connsiteX1" fmla="*/ 72009 w 2598407"/>
              <a:gd name="connsiteY1" fmla="*/ 100 h 432148"/>
              <a:gd name="connsiteX2" fmla="*/ 2088231 w 2598407"/>
              <a:gd name="connsiteY2" fmla="*/ 100 h 432148"/>
              <a:gd name="connsiteX3" fmla="*/ 2598407 w 2598407"/>
              <a:gd name="connsiteY3" fmla="*/ 220101 h 432148"/>
              <a:gd name="connsiteX4" fmla="*/ 2088231 w 2598407"/>
              <a:gd name="connsiteY4" fmla="*/ 432148 h 432148"/>
              <a:gd name="connsiteX5" fmla="*/ 72009 w 2598407"/>
              <a:gd name="connsiteY5" fmla="*/ 432148 h 432148"/>
              <a:gd name="connsiteX6" fmla="*/ 0 w 2598407"/>
              <a:gd name="connsiteY6" fmla="*/ 360139 h 432148"/>
              <a:gd name="connsiteX7" fmla="*/ 0 w 2598407"/>
              <a:gd name="connsiteY7" fmla="*/ 72109 h 432148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541"/>
              <a:gd name="connsiteY0" fmla="*/ 72121 h 432160"/>
              <a:gd name="connsiteX1" fmla="*/ 72009 w 2538541"/>
              <a:gd name="connsiteY1" fmla="*/ 112 h 432160"/>
              <a:gd name="connsiteX2" fmla="*/ 2088231 w 2538541"/>
              <a:gd name="connsiteY2" fmla="*/ 112 h 432160"/>
              <a:gd name="connsiteX3" fmla="*/ 2538446 w 2538541"/>
              <a:gd name="connsiteY3" fmla="*/ 196129 h 432160"/>
              <a:gd name="connsiteX4" fmla="*/ 2088231 w 2538541"/>
              <a:gd name="connsiteY4" fmla="*/ 432160 h 432160"/>
              <a:gd name="connsiteX5" fmla="*/ 72009 w 2538541"/>
              <a:gd name="connsiteY5" fmla="*/ 432160 h 432160"/>
              <a:gd name="connsiteX6" fmla="*/ 0 w 2538541"/>
              <a:gd name="connsiteY6" fmla="*/ 360151 h 432160"/>
              <a:gd name="connsiteX7" fmla="*/ 0 w 2538541"/>
              <a:gd name="connsiteY7" fmla="*/ 72121 h 432160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446"/>
              <a:gd name="connsiteY0" fmla="*/ 72121 h 432332"/>
              <a:gd name="connsiteX1" fmla="*/ 72009 w 2538446"/>
              <a:gd name="connsiteY1" fmla="*/ 112 h 432332"/>
              <a:gd name="connsiteX2" fmla="*/ 2088231 w 2538446"/>
              <a:gd name="connsiteY2" fmla="*/ 112 h 432332"/>
              <a:gd name="connsiteX3" fmla="*/ 2538446 w 2538446"/>
              <a:gd name="connsiteY3" fmla="*/ 196129 h 432332"/>
              <a:gd name="connsiteX4" fmla="*/ 2088231 w 2538446"/>
              <a:gd name="connsiteY4" fmla="*/ 432160 h 432332"/>
              <a:gd name="connsiteX5" fmla="*/ 72009 w 2538446"/>
              <a:gd name="connsiteY5" fmla="*/ 432160 h 432332"/>
              <a:gd name="connsiteX6" fmla="*/ 0 w 2538446"/>
              <a:gd name="connsiteY6" fmla="*/ 360151 h 432332"/>
              <a:gd name="connsiteX7" fmla="*/ 0 w 2538446"/>
              <a:gd name="connsiteY7" fmla="*/ 72121 h 432332"/>
              <a:gd name="connsiteX0" fmla="*/ 0 w 2538504"/>
              <a:gd name="connsiteY0" fmla="*/ 72117 h 432328"/>
              <a:gd name="connsiteX1" fmla="*/ 72009 w 2538504"/>
              <a:gd name="connsiteY1" fmla="*/ 108 h 432328"/>
              <a:gd name="connsiteX2" fmla="*/ 2088231 w 2538504"/>
              <a:gd name="connsiteY2" fmla="*/ 108 h 432328"/>
              <a:gd name="connsiteX3" fmla="*/ 2538446 w 2538504"/>
              <a:gd name="connsiteY3" fmla="*/ 196125 h 432328"/>
              <a:gd name="connsiteX4" fmla="*/ 2088231 w 2538504"/>
              <a:gd name="connsiteY4" fmla="*/ 432156 h 432328"/>
              <a:gd name="connsiteX5" fmla="*/ 72009 w 2538504"/>
              <a:gd name="connsiteY5" fmla="*/ 432156 h 432328"/>
              <a:gd name="connsiteX6" fmla="*/ 0 w 2538504"/>
              <a:gd name="connsiteY6" fmla="*/ 360147 h 432328"/>
              <a:gd name="connsiteX7" fmla="*/ 0 w 2538504"/>
              <a:gd name="connsiteY7" fmla="*/ 72117 h 432328"/>
              <a:gd name="connsiteX0" fmla="*/ 0 w 2538504"/>
              <a:gd name="connsiteY0" fmla="*/ 72111 h 432332"/>
              <a:gd name="connsiteX1" fmla="*/ 72009 w 2538504"/>
              <a:gd name="connsiteY1" fmla="*/ 102 h 432332"/>
              <a:gd name="connsiteX2" fmla="*/ 2088231 w 2538504"/>
              <a:gd name="connsiteY2" fmla="*/ 102 h 432332"/>
              <a:gd name="connsiteX3" fmla="*/ 2538446 w 2538504"/>
              <a:gd name="connsiteY3" fmla="*/ 210265 h 432332"/>
              <a:gd name="connsiteX4" fmla="*/ 2088231 w 2538504"/>
              <a:gd name="connsiteY4" fmla="*/ 432150 h 432332"/>
              <a:gd name="connsiteX5" fmla="*/ 72009 w 2538504"/>
              <a:gd name="connsiteY5" fmla="*/ 432150 h 432332"/>
              <a:gd name="connsiteX6" fmla="*/ 0 w 2538504"/>
              <a:gd name="connsiteY6" fmla="*/ 360141 h 432332"/>
              <a:gd name="connsiteX7" fmla="*/ 0 w 2538504"/>
              <a:gd name="connsiteY7" fmla="*/ 72111 h 432332"/>
              <a:gd name="connsiteX0" fmla="*/ 0 w 2538504"/>
              <a:gd name="connsiteY0" fmla="*/ 72111 h 432356"/>
              <a:gd name="connsiteX1" fmla="*/ 72009 w 2538504"/>
              <a:gd name="connsiteY1" fmla="*/ 102 h 432356"/>
              <a:gd name="connsiteX2" fmla="*/ 2088231 w 2538504"/>
              <a:gd name="connsiteY2" fmla="*/ 102 h 432356"/>
              <a:gd name="connsiteX3" fmla="*/ 2538446 w 2538504"/>
              <a:gd name="connsiteY3" fmla="*/ 210265 h 432356"/>
              <a:gd name="connsiteX4" fmla="*/ 2088231 w 2538504"/>
              <a:gd name="connsiteY4" fmla="*/ 432150 h 432356"/>
              <a:gd name="connsiteX5" fmla="*/ 72009 w 2538504"/>
              <a:gd name="connsiteY5" fmla="*/ 432150 h 432356"/>
              <a:gd name="connsiteX6" fmla="*/ 0 w 2538504"/>
              <a:gd name="connsiteY6" fmla="*/ 360141 h 432356"/>
              <a:gd name="connsiteX7" fmla="*/ 0 w 2538504"/>
              <a:gd name="connsiteY7" fmla="*/ 72111 h 432356"/>
              <a:gd name="connsiteX0" fmla="*/ 0 w 2538446"/>
              <a:gd name="connsiteY0" fmla="*/ 73192 h 433437"/>
              <a:gd name="connsiteX1" fmla="*/ 72009 w 2538446"/>
              <a:gd name="connsiteY1" fmla="*/ 1183 h 433437"/>
              <a:gd name="connsiteX2" fmla="*/ 2088231 w 2538446"/>
              <a:gd name="connsiteY2" fmla="*/ 1183 h 433437"/>
              <a:gd name="connsiteX3" fmla="*/ 2538446 w 2538446"/>
              <a:gd name="connsiteY3" fmla="*/ 211346 h 433437"/>
              <a:gd name="connsiteX4" fmla="*/ 2088231 w 2538446"/>
              <a:gd name="connsiteY4" fmla="*/ 433231 h 433437"/>
              <a:gd name="connsiteX5" fmla="*/ 72009 w 2538446"/>
              <a:gd name="connsiteY5" fmla="*/ 433231 h 433437"/>
              <a:gd name="connsiteX6" fmla="*/ 0 w 2538446"/>
              <a:gd name="connsiteY6" fmla="*/ 361222 h 433437"/>
              <a:gd name="connsiteX7" fmla="*/ 0 w 2538446"/>
              <a:gd name="connsiteY7" fmla="*/ 73192 h 433437"/>
              <a:gd name="connsiteX0" fmla="*/ 0 w 2538446"/>
              <a:gd name="connsiteY0" fmla="*/ 73004 h 433249"/>
              <a:gd name="connsiteX1" fmla="*/ 72009 w 2538446"/>
              <a:gd name="connsiteY1" fmla="*/ 995 h 433249"/>
              <a:gd name="connsiteX2" fmla="*/ 2088231 w 2538446"/>
              <a:gd name="connsiteY2" fmla="*/ 995 h 433249"/>
              <a:gd name="connsiteX3" fmla="*/ 2538446 w 2538446"/>
              <a:gd name="connsiteY3" fmla="*/ 211158 h 433249"/>
              <a:gd name="connsiteX4" fmla="*/ 2088231 w 2538446"/>
              <a:gd name="connsiteY4" fmla="*/ 433043 h 433249"/>
              <a:gd name="connsiteX5" fmla="*/ 72009 w 2538446"/>
              <a:gd name="connsiteY5" fmla="*/ 433043 h 433249"/>
              <a:gd name="connsiteX6" fmla="*/ 0 w 2538446"/>
              <a:gd name="connsiteY6" fmla="*/ 361034 h 433249"/>
              <a:gd name="connsiteX7" fmla="*/ 0 w 2538446"/>
              <a:gd name="connsiteY7" fmla="*/ 73004 h 433249"/>
              <a:gd name="connsiteX0" fmla="*/ 0 w 2538446"/>
              <a:gd name="connsiteY0" fmla="*/ 73004 h 434912"/>
              <a:gd name="connsiteX1" fmla="*/ 72009 w 2538446"/>
              <a:gd name="connsiteY1" fmla="*/ 995 h 434912"/>
              <a:gd name="connsiteX2" fmla="*/ 2088231 w 2538446"/>
              <a:gd name="connsiteY2" fmla="*/ 995 h 434912"/>
              <a:gd name="connsiteX3" fmla="*/ 2538446 w 2538446"/>
              <a:gd name="connsiteY3" fmla="*/ 211158 h 434912"/>
              <a:gd name="connsiteX4" fmla="*/ 2088231 w 2538446"/>
              <a:gd name="connsiteY4" fmla="*/ 433043 h 434912"/>
              <a:gd name="connsiteX5" fmla="*/ 72009 w 2538446"/>
              <a:gd name="connsiteY5" fmla="*/ 433043 h 434912"/>
              <a:gd name="connsiteX6" fmla="*/ 0 w 2538446"/>
              <a:gd name="connsiteY6" fmla="*/ 361034 h 434912"/>
              <a:gd name="connsiteX7" fmla="*/ 0 w 2538446"/>
              <a:gd name="connsiteY7" fmla="*/ 73004 h 434912"/>
              <a:gd name="connsiteX0" fmla="*/ 0 w 2538446"/>
              <a:gd name="connsiteY0" fmla="*/ 73195 h 435103"/>
              <a:gd name="connsiteX1" fmla="*/ 72009 w 2538446"/>
              <a:gd name="connsiteY1" fmla="*/ 1186 h 435103"/>
              <a:gd name="connsiteX2" fmla="*/ 2088231 w 2538446"/>
              <a:gd name="connsiteY2" fmla="*/ 1186 h 435103"/>
              <a:gd name="connsiteX3" fmla="*/ 2538446 w 2538446"/>
              <a:gd name="connsiteY3" fmla="*/ 211349 h 435103"/>
              <a:gd name="connsiteX4" fmla="*/ 2088231 w 2538446"/>
              <a:gd name="connsiteY4" fmla="*/ 433234 h 435103"/>
              <a:gd name="connsiteX5" fmla="*/ 72009 w 2538446"/>
              <a:gd name="connsiteY5" fmla="*/ 433234 h 435103"/>
              <a:gd name="connsiteX6" fmla="*/ 0 w 2538446"/>
              <a:gd name="connsiteY6" fmla="*/ 361225 h 435103"/>
              <a:gd name="connsiteX7" fmla="*/ 0 w 2538446"/>
              <a:gd name="connsiteY7" fmla="*/ 73195 h 435103"/>
              <a:gd name="connsiteX0" fmla="*/ 0 w 2538459"/>
              <a:gd name="connsiteY0" fmla="*/ 72009 h 433917"/>
              <a:gd name="connsiteX1" fmla="*/ 72009 w 2538459"/>
              <a:gd name="connsiteY1" fmla="*/ 0 h 433917"/>
              <a:gd name="connsiteX2" fmla="*/ 2088231 w 2538459"/>
              <a:gd name="connsiteY2" fmla="*/ 0 h 433917"/>
              <a:gd name="connsiteX3" fmla="*/ 2316843 w 2538459"/>
              <a:gd name="connsiteY3" fmla="*/ 64721 h 433917"/>
              <a:gd name="connsiteX4" fmla="*/ 2538446 w 2538459"/>
              <a:gd name="connsiteY4" fmla="*/ 210163 h 433917"/>
              <a:gd name="connsiteX5" fmla="*/ 2088231 w 2538459"/>
              <a:gd name="connsiteY5" fmla="*/ 432048 h 433917"/>
              <a:gd name="connsiteX6" fmla="*/ 72009 w 2538459"/>
              <a:gd name="connsiteY6" fmla="*/ 432048 h 433917"/>
              <a:gd name="connsiteX7" fmla="*/ 0 w 2538459"/>
              <a:gd name="connsiteY7" fmla="*/ 360039 h 433917"/>
              <a:gd name="connsiteX8" fmla="*/ 0 w 2538459"/>
              <a:gd name="connsiteY8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2048"/>
              <a:gd name="connsiteX1" fmla="*/ 72009 w 2538446"/>
              <a:gd name="connsiteY1" fmla="*/ 0 h 432048"/>
              <a:gd name="connsiteX2" fmla="*/ 2088231 w 2538446"/>
              <a:gd name="connsiteY2" fmla="*/ 0 h 432048"/>
              <a:gd name="connsiteX3" fmla="*/ 2538446 w 2538446"/>
              <a:gd name="connsiteY3" fmla="*/ 210163 h 432048"/>
              <a:gd name="connsiteX4" fmla="*/ 2088231 w 2538446"/>
              <a:gd name="connsiteY4" fmla="*/ 432048 h 432048"/>
              <a:gd name="connsiteX5" fmla="*/ 72009 w 2538446"/>
              <a:gd name="connsiteY5" fmla="*/ 432048 h 432048"/>
              <a:gd name="connsiteX6" fmla="*/ 0 w 2538446"/>
              <a:gd name="connsiteY6" fmla="*/ 360039 h 432048"/>
              <a:gd name="connsiteX7" fmla="*/ 0 w 2538446"/>
              <a:gd name="connsiteY7" fmla="*/ 72009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38446" h="432048">
                <a:moveTo>
                  <a:pt x="0" y="72009"/>
                </a:moveTo>
                <a:cubicBezTo>
                  <a:pt x="0" y="32240"/>
                  <a:pt x="32240" y="0"/>
                  <a:pt x="72009" y="0"/>
                </a:cubicBezTo>
                <a:lnTo>
                  <a:pt x="2088231" y="0"/>
                </a:lnTo>
                <a:cubicBezTo>
                  <a:pt x="2084302" y="127"/>
                  <a:pt x="2427316" y="155605"/>
                  <a:pt x="2538446" y="210163"/>
                </a:cubicBezTo>
                <a:lnTo>
                  <a:pt x="2088231" y="432048"/>
                </a:lnTo>
                <a:lnTo>
                  <a:pt x="72009" y="432048"/>
                </a:lnTo>
                <a:cubicBezTo>
                  <a:pt x="32240" y="432048"/>
                  <a:pt x="0" y="399808"/>
                  <a:pt x="0" y="360039"/>
                </a:cubicBezTo>
                <a:lnTo>
                  <a:pt x="0" y="72009"/>
                </a:lnTo>
                <a:close/>
              </a:path>
            </a:pathLst>
          </a:custGeom>
          <a:solidFill>
            <a:srgbClr val="009999"/>
          </a:solidFill>
          <a:ln w="508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25" name="24 CuadroTexto">
            <a:extLst>
              <a:ext uri="{FF2B5EF4-FFF2-40B4-BE49-F238E27FC236}">
                <a16:creationId xmlns:a16="http://schemas.microsoft.com/office/drawing/2014/main" id="{F3BD6395-2BE3-4F85-B91C-F296929B9187}"/>
              </a:ext>
            </a:extLst>
          </p:cNvPr>
          <p:cNvSpPr txBox="1"/>
          <p:nvPr/>
        </p:nvSpPr>
        <p:spPr bwMode="auto">
          <a:xfrm>
            <a:off x="450851" y="3113618"/>
            <a:ext cx="2114549" cy="1077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s-ES" sz="2133" b="1" kern="0" dirty="0">
                <a:latin typeface="Calibri" panose="020F0502020204030204" pitchFamily="34" charset="0"/>
                <a:cs typeface="Calibri" panose="020F0502020204030204" pitchFamily="34" charset="0"/>
              </a:rPr>
              <a:t>PROGRAMAS DE CAPACITACIÓN - CURSOS</a:t>
            </a:r>
          </a:p>
        </p:txBody>
      </p:sp>
      <p:sp>
        <p:nvSpPr>
          <p:cNvPr id="12" name="11 CuadroTexto">
            <a:extLst>
              <a:ext uri="{FF2B5EF4-FFF2-40B4-BE49-F238E27FC236}">
                <a16:creationId xmlns:a16="http://schemas.microsoft.com/office/drawing/2014/main" id="{C71A4923-79B1-4E2C-AB1B-C9AD04E3CF7D}"/>
              </a:ext>
            </a:extLst>
          </p:cNvPr>
          <p:cNvSpPr txBox="1"/>
          <p:nvPr/>
        </p:nvSpPr>
        <p:spPr bwMode="auto">
          <a:xfrm>
            <a:off x="2578100" y="2286860"/>
            <a:ext cx="8919633" cy="448321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Operaciones Telco. (6h) (  </a:t>
            </a:r>
            <a:r>
              <a:rPr lang="es-ES" dirty="0">
                <a:latin typeface="Calibri" panose="020F0502020204030204" pitchFamily="34" charset="0"/>
                <a:cs typeface="Calibri" panose="020F0502020204030204" pitchFamily="34" charset="0"/>
              </a:rPr>
              <a:t>posibilidad de ser  impartido en aula virtual desde marzo 2020 por la pandemia)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Alturas Telco 1. (6h)  T-P *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Alturas Telco 2. (Antenas) (16h) T-P *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Alturas Telco 3. (Verticales) (28h) T-P * Nuevo 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Riesgo eléctrico Telco. (6h) T-P *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Espacios confinados Telco. (6h) T-P *</a:t>
            </a:r>
          </a:p>
          <a:p>
            <a:pPr marL="819130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Rescate en alturas Telco  (8h) T-P * Nuevo</a:t>
            </a:r>
          </a:p>
          <a:p>
            <a:pPr marL="819129" indent="-457189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Reciclaje periódico en altura, espacios confinados y riesgo eléctrico (cada 3 años). Nuevo</a:t>
            </a:r>
          </a:p>
          <a:p>
            <a:pPr marL="361942" indent="120648">
              <a:spcBef>
                <a:spcPts val="400"/>
              </a:spcBef>
              <a:defRPr/>
            </a:pPr>
            <a:endParaRPr lang="es-ES" sz="533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1942" indent="120648">
              <a:spcBef>
                <a:spcPts val="400"/>
              </a:spcBef>
              <a:defRPr/>
            </a:pPr>
            <a:r>
              <a:rPr lang="es-ES" sz="1600" i="1" dirty="0">
                <a:latin typeface="Calibri" panose="020F0502020204030204" pitchFamily="34" charset="0"/>
                <a:cs typeface="Calibri" panose="020F0502020204030204" pitchFamily="34" charset="0"/>
              </a:rPr>
              <a:t>(*) T-P: Teórico-Práctico </a:t>
            </a:r>
            <a:endParaRPr lang="es-ES" sz="1600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Estrella: 5 puntas 3">
            <a:extLst>
              <a:ext uri="{FF2B5EF4-FFF2-40B4-BE49-F238E27FC236}">
                <a16:creationId xmlns:a16="http://schemas.microsoft.com/office/drawing/2014/main" id="{D0D28B75-C1A7-4A30-AEAB-6E5B7AA64D7C}"/>
              </a:ext>
            </a:extLst>
          </p:cNvPr>
          <p:cNvSpPr/>
          <p:nvPr/>
        </p:nvSpPr>
        <p:spPr>
          <a:xfrm flipH="1">
            <a:off x="9281968" y="3835411"/>
            <a:ext cx="368300" cy="366183"/>
          </a:xfrm>
          <a:prstGeom prst="star5">
            <a:avLst>
              <a:gd name="adj" fmla="val 21513"/>
              <a:gd name="hf" fmla="val 105146"/>
              <a:gd name="vf" fmla="val 11055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sz="2400" dirty="0">
              <a:solidFill>
                <a:schemeClr val="tx1"/>
              </a:solidFill>
            </a:endParaRPr>
          </a:p>
        </p:txBody>
      </p:sp>
      <p:sp>
        <p:nvSpPr>
          <p:cNvPr id="11" name="Estrella: 5 puntas 10">
            <a:extLst>
              <a:ext uri="{FF2B5EF4-FFF2-40B4-BE49-F238E27FC236}">
                <a16:creationId xmlns:a16="http://schemas.microsoft.com/office/drawing/2014/main" id="{3089E450-E0B8-4E6F-A195-BAB32085870B}"/>
              </a:ext>
            </a:extLst>
          </p:cNvPr>
          <p:cNvSpPr/>
          <p:nvPr/>
        </p:nvSpPr>
        <p:spPr>
          <a:xfrm flipH="1">
            <a:off x="8767227" y="5019924"/>
            <a:ext cx="368300" cy="400049"/>
          </a:xfrm>
          <a:prstGeom prst="star5">
            <a:avLst>
              <a:gd name="adj" fmla="val 21513"/>
              <a:gd name="hf" fmla="val 105146"/>
              <a:gd name="vf" fmla="val 11055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13" name="Estrella: 5 puntas 12">
            <a:extLst>
              <a:ext uri="{FF2B5EF4-FFF2-40B4-BE49-F238E27FC236}">
                <a16:creationId xmlns:a16="http://schemas.microsoft.com/office/drawing/2014/main" id="{56019466-0F6A-4733-9B4F-989357DD7824}"/>
              </a:ext>
            </a:extLst>
          </p:cNvPr>
          <p:cNvSpPr/>
          <p:nvPr/>
        </p:nvSpPr>
        <p:spPr>
          <a:xfrm flipH="1">
            <a:off x="7321192" y="5838933"/>
            <a:ext cx="368300" cy="402167"/>
          </a:xfrm>
          <a:prstGeom prst="star5">
            <a:avLst>
              <a:gd name="adj" fmla="val 21513"/>
              <a:gd name="hf" fmla="val 105146"/>
              <a:gd name="vf" fmla="val 110557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19465" name="1 Título">
            <a:extLst>
              <a:ext uri="{FF2B5EF4-FFF2-40B4-BE49-F238E27FC236}">
                <a16:creationId xmlns:a16="http://schemas.microsoft.com/office/drawing/2014/main" id="{614309C7-0B4E-4F0E-8C09-F4AEFC9A3DA0}"/>
              </a:ext>
            </a:extLst>
          </p:cNvPr>
          <p:cNvSpPr txBox="1">
            <a:spLocks/>
          </p:cNvSpPr>
          <p:nvPr/>
        </p:nvSpPr>
        <p:spPr bwMode="auto">
          <a:xfrm>
            <a:off x="160866" y="-33867"/>
            <a:ext cx="11870267" cy="1286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Formación: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programas de capacitación recogidos en el acuerdo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001890">
            <a:off x="10140497" y="3113618"/>
            <a:ext cx="1692226" cy="23422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 bwMode="auto">
          <a:xfrm rot="21017436">
            <a:off x="10198476" y="3229961"/>
            <a:ext cx="1003308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algn="l" eaLnBrk="1" hangingPunct="1"/>
            <a:r>
              <a:rPr lang="es-ES" sz="13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</a:t>
            </a:r>
            <a:r>
              <a:rPr lang="es-ES" sz="13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ector </a:t>
            </a:r>
            <a:r>
              <a:rPr lang="es-ES" sz="1300" b="1" dirty="0" err="1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telco</a:t>
            </a:r>
            <a:endParaRPr lang="es-ES" sz="1300" b="1" dirty="0" smtClean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l" eaLnBrk="1" hangingPunct="1"/>
            <a:r>
              <a:rPr lang="es-ES" sz="120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………………</a:t>
            </a:r>
          </a:p>
          <a:p>
            <a:pPr algn="l" eaLnBrk="1" hangingPunct="1"/>
            <a:r>
              <a:rPr lang="es-ES" sz="120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………………..</a:t>
            </a:r>
          </a:p>
          <a:p>
            <a:pPr algn="l" eaLnBrk="1" hangingPunct="1"/>
            <a:r>
              <a:rPr lang="es-ES" sz="120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………………………</a:t>
            </a:r>
          </a:p>
          <a:p>
            <a:pPr algn="l" eaLnBrk="1" hangingPunct="1"/>
            <a:r>
              <a:rPr lang="es-ES" sz="120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…………….</a:t>
            </a:r>
          </a:p>
          <a:p>
            <a:pPr algn="l" eaLnBrk="1" hangingPunct="1"/>
            <a:endParaRPr lang="es-ES" sz="120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l" eaLnBrk="1" hangingPunct="1"/>
            <a:r>
              <a:rPr lang="es-ES" sz="120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………….</a:t>
            </a:r>
            <a:endParaRPr lang="es-ES" sz="120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2A8CE1E8-F6B1-418A-86ED-7D75747A2C39}"/>
              </a:ext>
            </a:extLst>
          </p:cNvPr>
          <p:cNvSpPr/>
          <p:nvPr/>
        </p:nvSpPr>
        <p:spPr>
          <a:xfrm>
            <a:off x="754513" y="831929"/>
            <a:ext cx="11437487" cy="6006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FORMACION DE RECICLAJES específica para realizar trabajos TELCO.</a:t>
            </a:r>
          </a:p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MODALIDAD: Presencial: Teórico y Práctico</a:t>
            </a:r>
          </a:p>
          <a:p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	DURACIÓN:</a:t>
            </a:r>
          </a:p>
          <a:p>
            <a:pPr marL="1714445" lvl="3" indent="-342900">
              <a:buFont typeface="Wingdings" panose="05000000000000000000" pitchFamily="2" charset="2"/>
              <a:buChar char="q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Telco I Alturas: 4h (1h teórica; 3h práticas)</a:t>
            </a:r>
          </a:p>
          <a:p>
            <a:pPr marL="1714445" lvl="3" indent="-342900">
              <a:buFont typeface="Wingdings" panose="05000000000000000000" pitchFamily="2" charset="2"/>
              <a:buChar char="q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Telco II Alturas: 7h (2h teórica; 5h práticas)</a:t>
            </a:r>
          </a:p>
          <a:p>
            <a:pPr marL="1714445" lvl="3" indent="-342900">
              <a:buFont typeface="Wingdings" panose="05000000000000000000" pitchFamily="2" charset="2"/>
              <a:buChar char="q"/>
            </a:pPr>
            <a:r>
              <a:rPr lang="pt-BR" sz="2400" dirty="0">
                <a:latin typeface="Calibri" panose="020F0502020204030204" pitchFamily="34" charset="0"/>
                <a:cs typeface="Calibri" panose="020F0502020204030204" pitchFamily="34" charset="0"/>
              </a:rPr>
              <a:t>Espacios Confinados TELCO: 4h (1h teórica; 3h práticas</a:t>
            </a:r>
          </a:p>
          <a:p>
            <a:pPr marL="1714445" lvl="3" indent="-342900">
              <a:buFont typeface="Wingdings" panose="05000000000000000000" pitchFamily="2" charset="2"/>
              <a:buChar char="q"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Riesgo Eléctrico TELCO: 2h (1h teórica; 1h práctica</a:t>
            </a:r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pt-BR" sz="267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endParaRPr lang="pt-BR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ALTURAS TELCO 3. (Verticales) </a:t>
            </a:r>
          </a:p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MODALIDAD: Presencial: Teórico y Práctico</a:t>
            </a:r>
          </a:p>
          <a:p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	DURACIÓN: 28 H. </a:t>
            </a:r>
          </a:p>
          <a:p>
            <a:endParaRPr lang="es-E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RESCATE EN ALTURAS TELCO </a:t>
            </a:r>
          </a:p>
          <a:p>
            <a:r>
              <a:rPr lang="es-ES" sz="267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MODALIDAD: Presencial: Teórico y Práctico</a:t>
            </a:r>
          </a:p>
          <a:p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	DURACIÓN: 8 H. </a:t>
            </a:r>
          </a:p>
        </p:txBody>
      </p:sp>
      <p:sp>
        <p:nvSpPr>
          <p:cNvPr id="4" name="1 Título">
            <a:extLst>
              <a:ext uri="{FF2B5EF4-FFF2-40B4-BE49-F238E27FC236}">
                <a16:creationId xmlns:a16="http://schemas.microsoft.com/office/drawing/2014/main" id="{CDDB91C6-BB91-47ED-8765-28F78AAEDC8A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73264" y="0"/>
            <a:ext cx="11468100" cy="836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Formación: </a:t>
            </a:r>
            <a:r>
              <a:rPr lang="es-ES" altLang="es-ES" sz="3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nuevos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cursos </a:t>
            </a:r>
            <a:r>
              <a:rPr lang="es-ES" altLang="es-ES" sz="3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incorporados</a:t>
            </a:r>
            <a:endParaRPr lang="es-ES" altLang="es-ES" sz="36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Imagen 5" descr="Imagen que contiene tabla, cuarto, jugando, pelota&#10;&#10;Descripción generada automáticamente">
            <a:extLst>
              <a:ext uri="{FF2B5EF4-FFF2-40B4-BE49-F238E27FC236}">
                <a16:creationId xmlns:a16="http://schemas.microsoft.com/office/drawing/2014/main" id="{BCF94CF9-3394-47EB-B7E3-15DC81526A7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837473B0-CC2E-450A-ABE3-18F120FF3D39}">
                <a1611:picAttrSrcUrl xmlns="" xmlns:a1611="http://schemas.microsoft.com/office/drawing/2016/11/main" r:id="rId3"/>
              </a:ext>
            </a:extLst>
          </a:blip>
          <a:srcRect l="10039" t="9078" r="8448"/>
          <a:stretch/>
        </p:blipFill>
        <p:spPr>
          <a:xfrm>
            <a:off x="7772400" y="3761117"/>
            <a:ext cx="3019246" cy="24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827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2 Tabla">
            <a:extLst>
              <a:ext uri="{FF2B5EF4-FFF2-40B4-BE49-F238E27FC236}">
                <a16:creationId xmlns:a16="http://schemas.microsoft.com/office/drawing/2014/main" id="{AD8B9F42-1A06-4F21-88FD-786F118EA8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3698702"/>
              </p:ext>
            </p:extLst>
          </p:nvPr>
        </p:nvGraphicFramePr>
        <p:xfrm>
          <a:off x="631674" y="1725926"/>
          <a:ext cx="9904397" cy="30395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23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2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883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859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1800" b="0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nominación Curso</a:t>
                      </a:r>
                      <a:endParaRPr lang="es-ES" sz="1800" b="0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 anchor="ctr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S" sz="1800" b="0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cha de lanzamiento</a:t>
                      </a:r>
                      <a:endParaRPr lang="es-ES" sz="1800" b="0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 anchor="ctr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800" b="0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 periodo de transición</a:t>
                      </a:r>
                      <a:endParaRPr lang="es-ES" sz="1800" b="0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 anchor="ctr">
                    <a:solidFill>
                      <a:srgbClr val="00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3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PERACIONES</a:t>
                      </a:r>
                      <a:r>
                        <a:rPr lang="es-ES" sz="2000" b="1" kern="1100" baseline="0" dirty="0"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TELCO</a:t>
                      </a:r>
                      <a:endParaRPr lang="es-ES" sz="2000" b="1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18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21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3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TURA</a:t>
                      </a:r>
                      <a:r>
                        <a:rPr lang="es-ES" sz="2000" b="1" kern="11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LCO 1</a:t>
                      </a:r>
                      <a:endParaRPr lang="es-ES" sz="2000" b="1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18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21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3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TURA</a:t>
                      </a:r>
                      <a:r>
                        <a:rPr lang="es-ES" sz="2000" b="1" kern="11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LCO 2  (Antenas)</a:t>
                      </a:r>
                      <a:endParaRPr lang="es-ES" sz="2000" b="1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1/07/2018</a:t>
                      </a: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21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94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ea typeface="Vodafone Rg"/>
                          <a:cs typeface="Calibri" panose="020F0502020204030204" pitchFamily="34" charset="0"/>
                        </a:rPr>
                        <a:t>ESPACIOS CONFINADOS TELCO</a:t>
                      </a: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1/07/2018</a:t>
                      </a: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21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3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ESGO ELECTRICO TELCO</a:t>
                      </a:r>
                      <a:endParaRPr lang="es-ES" sz="2000" b="1" kern="1100" dirty="0"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1/07/2018</a:t>
                      </a: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1/07/2021</a:t>
                      </a:r>
                      <a:endParaRPr lang="es-ES" sz="1800" b="0" kern="1100" dirty="0">
                        <a:solidFill>
                          <a:srgbClr val="003144"/>
                        </a:solidFill>
                        <a:effectLst/>
                        <a:latin typeface="Calibri" panose="020F0502020204030204" pitchFamily="34" charset="0"/>
                        <a:ea typeface="Vodafone Rg"/>
                        <a:cs typeface="Calibri" panose="020F0502020204030204" pitchFamily="34" charset="0"/>
                      </a:endParaRP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94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ea typeface="Vodafone Rg"/>
                          <a:cs typeface="Calibri" panose="020F0502020204030204" pitchFamily="34" charset="0"/>
                        </a:rPr>
                        <a:t>ALTURA TELCO 3 ( Trabajos Verticales)</a:t>
                      </a: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1/07/2021</a:t>
                      </a: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Vodafone Rg"/>
                          <a:cs typeface="Calibri" panose="020F0502020204030204" pitchFamily="34" charset="0"/>
                        </a:rPr>
                        <a:t>01/07/2024</a:t>
                      </a: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946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2000" b="1" kern="1100" dirty="0">
                          <a:effectLst/>
                          <a:latin typeface="Calibri" panose="020F0502020204030204" pitchFamily="34" charset="0"/>
                          <a:ea typeface="Vodafone Rg"/>
                          <a:cs typeface="Calibri" panose="020F0502020204030204" pitchFamily="34" charset="0"/>
                        </a:rPr>
                        <a:t>RESCATE EN ALTURAS</a:t>
                      </a:r>
                    </a:p>
                  </a:txBody>
                  <a:tcPr marL="48259" marR="48259" marT="0" marB="0">
                    <a:solidFill>
                      <a:srgbClr val="0099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01/07/2021</a:t>
                      </a:r>
                    </a:p>
                  </a:txBody>
                  <a:tcPr marL="48259" marR="4825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s-ES" sz="1800" b="0" kern="1100" dirty="0">
                          <a:solidFill>
                            <a:srgbClr val="003144"/>
                          </a:solidFill>
                          <a:effectLst/>
                          <a:latin typeface="Calibri" panose="020F0502020204030204" pitchFamily="34" charset="0"/>
                          <a:ea typeface="Vodafone Rg"/>
                          <a:cs typeface="Calibri" panose="020F0502020204030204" pitchFamily="34" charset="0"/>
                        </a:rPr>
                        <a:t>01/07/2024</a:t>
                      </a:r>
                    </a:p>
                  </a:txBody>
                  <a:tcPr marL="48259" marR="48259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0520" name="1 Título">
            <a:extLst>
              <a:ext uri="{FF2B5EF4-FFF2-40B4-BE49-F238E27FC236}">
                <a16:creationId xmlns:a16="http://schemas.microsoft.com/office/drawing/2014/main" id="{CBDA220C-E0F0-4FD9-92F2-C6AF908B53E6}"/>
              </a:ext>
            </a:extLst>
          </p:cNvPr>
          <p:cNvSpPr txBox="1">
            <a:spLocks/>
          </p:cNvSpPr>
          <p:nvPr/>
        </p:nvSpPr>
        <p:spPr bwMode="auto">
          <a:xfrm>
            <a:off x="168275" y="-26610"/>
            <a:ext cx="10659382" cy="766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 </a:t>
            </a:r>
            <a:r>
              <a:rPr lang="es-ES" altLang="es-ES" sz="4000" b="1" dirty="0">
                <a:solidFill>
                  <a:srgbClr val="009999"/>
                </a:solidFill>
                <a:latin typeface="Calibri" panose="020F0502020204030204" pitchFamily="34" charset="0"/>
              </a:rPr>
              <a:t>TELCO</a:t>
            </a:r>
            <a:r>
              <a:rPr lang="es-ES" altLang="es-ES" sz="40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Formación: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plazos de implantación </a:t>
            </a:r>
          </a:p>
        </p:txBody>
      </p:sp>
      <p:sp>
        <p:nvSpPr>
          <p:cNvPr id="20521" name="Rectángulo 6">
            <a:extLst>
              <a:ext uri="{FF2B5EF4-FFF2-40B4-BE49-F238E27FC236}">
                <a16:creationId xmlns:a16="http://schemas.microsoft.com/office/drawing/2014/main" id="{89E5BFF5-C13C-4E03-8764-3E8A31B0A2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833" y="4763070"/>
            <a:ext cx="10081683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r>
              <a:rPr lang="es-ES" altLang="es-E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partir de la fecha de lanzamiento de cada curso no se admitirán certificados que no cumplan con el programa de capacitación aprobado y que no estén emitidos por empresas de formación homologadas. </a:t>
            </a:r>
          </a:p>
          <a:p>
            <a:r>
              <a:rPr lang="es-ES" altLang="es-E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 cursos de Altura Telco 1,  Altura Telco 2, Espacios Confinados Telco y Riesgos Eléctrico Telco, se reciclaran cada 3 años según el estándar contenido en este acuerdo.</a:t>
            </a:r>
          </a:p>
        </p:txBody>
      </p:sp>
      <p:sp>
        <p:nvSpPr>
          <p:cNvPr id="20522" name="CuadroTexto 7">
            <a:extLst>
              <a:ext uri="{FF2B5EF4-FFF2-40B4-BE49-F238E27FC236}">
                <a16:creationId xmlns:a16="http://schemas.microsoft.com/office/drawing/2014/main" id="{5501BF60-B5E1-4AE0-AB34-D05EC7F7A0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8109" y="732066"/>
            <a:ext cx="1017693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r>
              <a:rPr lang="es-ES" altLang="es-E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e acuerdo entró en vigor a 1 de enero de 2018 y establece un periodo de transición para cada uno de los programas de capacitación que se van incorporando, quedando actualmente de la siguiente forma: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516" y="146412"/>
            <a:ext cx="1438338" cy="22364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21 CuadroTexto">
            <a:extLst>
              <a:ext uri="{FF2B5EF4-FFF2-40B4-BE49-F238E27FC236}">
                <a16:creationId xmlns:a16="http://schemas.microsoft.com/office/drawing/2014/main" id="{149B2DEC-8397-46BC-82BF-4DFDBF7ABB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698" y="1266726"/>
            <a:ext cx="7919659" cy="522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Los cursos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son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impartidos únicamente por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empresas de formación que </a:t>
            </a:r>
            <a:r>
              <a:rPr lang="es-E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uentan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n la certificación  establecida por el sector TELCO. Una vez que </a:t>
            </a:r>
            <a:r>
              <a:rPr lang="es-E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uentan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con dicha certificación </a:t>
            </a:r>
            <a:r>
              <a:rPr lang="es-E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integran la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“Lista de entidades formativas homologadas</a:t>
            </a:r>
            <a:r>
              <a:rPr lang="es-E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”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endParaRPr lang="es-E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La certificación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se obtiene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una vez que  la entidad formativa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supera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un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roceso de auditoria realizado por  una empresa certificadora  autorizada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es-ES" sz="2400" b="1" u="sng" dirty="0">
                <a:latin typeface="Calibri" panose="020F0502020204030204" pitchFamily="34" charset="0"/>
                <a:cs typeface="Calibri" panose="020F0502020204030204" pitchFamily="34" charset="0"/>
              </a:rPr>
              <a:t>( AENOR y AUDELCO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  <a:p>
            <a:pPr algn="just">
              <a:defRPr/>
            </a:pP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 			</a:t>
            </a:r>
            <a:r>
              <a:rPr lang="es-ES" sz="2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Las </a:t>
            </a:r>
            <a:r>
              <a:rPr lang="es-ES" sz="2400" i="1" dirty="0">
                <a:latin typeface="Calibri" panose="020F0502020204030204" pitchFamily="34" charset="0"/>
                <a:cs typeface="Calibri" panose="020F0502020204030204" pitchFamily="34" charset="0"/>
              </a:rPr>
              <a:t>empresas homologadas están </a:t>
            </a:r>
            <a:r>
              <a:rPr lang="es-ES" sz="2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			publicitadas en </a:t>
            </a:r>
            <a:r>
              <a:rPr lang="es-ES" sz="2400" i="1" dirty="0">
                <a:latin typeface="Calibri" panose="020F0502020204030204" pitchFamily="34" charset="0"/>
                <a:cs typeface="Calibri" panose="020F0502020204030204" pitchFamily="34" charset="0"/>
              </a:rPr>
              <a:t>las </a:t>
            </a:r>
            <a:r>
              <a:rPr lang="es-ES" sz="2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páginas </a:t>
            </a:r>
            <a:r>
              <a:rPr lang="es-ES" sz="2400" i="1" dirty="0">
                <a:latin typeface="Calibri" panose="020F0502020204030204" pitchFamily="34" charset="0"/>
                <a:cs typeface="Calibri" panose="020F0502020204030204" pitchFamily="34" charset="0"/>
              </a:rPr>
              <a:t>web  de las </a:t>
            </a:r>
            <a:r>
              <a:rPr lang="es-ES" sz="2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		empresas certificadoras.</a:t>
            </a: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endParaRPr lang="es-ES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400"/>
              </a:spcBef>
              <a:buFont typeface="Wingdings" panose="05000000000000000000" pitchFamily="2" charset="2"/>
              <a:buChar char="q"/>
              <a:defRPr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Las empresas homologadas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pueden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impartir uno o varios cursos, según </a:t>
            </a:r>
            <a:r>
              <a:rPr lang="es-E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establece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el alcance de su certificación.</a:t>
            </a:r>
          </a:p>
        </p:txBody>
      </p:sp>
      <p:sp>
        <p:nvSpPr>
          <p:cNvPr id="24" name="3 Rectángulo redondeado">
            <a:extLst>
              <a:ext uri="{FF2B5EF4-FFF2-40B4-BE49-F238E27FC236}">
                <a16:creationId xmlns:a16="http://schemas.microsoft.com/office/drawing/2014/main" id="{EA131153-6AC7-44AF-8B7A-912A618ECB0B}"/>
              </a:ext>
            </a:extLst>
          </p:cNvPr>
          <p:cNvSpPr/>
          <p:nvPr/>
        </p:nvSpPr>
        <p:spPr>
          <a:xfrm>
            <a:off x="239184" y="2664324"/>
            <a:ext cx="2207683" cy="1849967"/>
          </a:xfrm>
          <a:custGeom>
            <a:avLst/>
            <a:gdLst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160240 w 2160240"/>
              <a:gd name="connsiteY4" fmla="*/ 360039 h 432048"/>
              <a:gd name="connsiteX5" fmla="*/ 2088231 w 2160240"/>
              <a:gd name="connsiteY5" fmla="*/ 432048 h 432048"/>
              <a:gd name="connsiteX6" fmla="*/ 72009 w 2160240"/>
              <a:gd name="connsiteY6" fmla="*/ 432048 h 432048"/>
              <a:gd name="connsiteX7" fmla="*/ 0 w 2160240"/>
              <a:gd name="connsiteY7" fmla="*/ 360039 h 432048"/>
              <a:gd name="connsiteX8" fmla="*/ 0 w 2160240"/>
              <a:gd name="connsiteY8" fmla="*/ 72009 h 432048"/>
              <a:gd name="connsiteX0" fmla="*/ 0 w 2160240"/>
              <a:gd name="connsiteY0" fmla="*/ 72009 h 432048"/>
              <a:gd name="connsiteX1" fmla="*/ 72009 w 2160240"/>
              <a:gd name="connsiteY1" fmla="*/ 0 h 432048"/>
              <a:gd name="connsiteX2" fmla="*/ 2088231 w 2160240"/>
              <a:gd name="connsiteY2" fmla="*/ 0 h 432048"/>
              <a:gd name="connsiteX3" fmla="*/ 2160240 w 2160240"/>
              <a:gd name="connsiteY3" fmla="*/ 72009 h 432048"/>
              <a:gd name="connsiteX4" fmla="*/ 2088231 w 2160240"/>
              <a:gd name="connsiteY4" fmla="*/ 432048 h 432048"/>
              <a:gd name="connsiteX5" fmla="*/ 72009 w 2160240"/>
              <a:gd name="connsiteY5" fmla="*/ 432048 h 432048"/>
              <a:gd name="connsiteX6" fmla="*/ 0 w 2160240"/>
              <a:gd name="connsiteY6" fmla="*/ 360039 h 432048"/>
              <a:gd name="connsiteX7" fmla="*/ 0 w 2160240"/>
              <a:gd name="connsiteY7" fmla="*/ 72009 h 432048"/>
              <a:gd name="connsiteX0" fmla="*/ 0 w 2392996"/>
              <a:gd name="connsiteY0" fmla="*/ 72009 h 432048"/>
              <a:gd name="connsiteX1" fmla="*/ 72009 w 2392996"/>
              <a:gd name="connsiteY1" fmla="*/ 0 h 432048"/>
              <a:gd name="connsiteX2" fmla="*/ 2088231 w 2392996"/>
              <a:gd name="connsiteY2" fmla="*/ 0 h 432048"/>
              <a:gd name="connsiteX3" fmla="*/ 2392996 w 2392996"/>
              <a:gd name="connsiteY3" fmla="*/ 232721 h 432048"/>
              <a:gd name="connsiteX4" fmla="*/ 2088231 w 2392996"/>
              <a:gd name="connsiteY4" fmla="*/ 432048 h 432048"/>
              <a:gd name="connsiteX5" fmla="*/ 72009 w 2392996"/>
              <a:gd name="connsiteY5" fmla="*/ 432048 h 432048"/>
              <a:gd name="connsiteX6" fmla="*/ 0 w 2392996"/>
              <a:gd name="connsiteY6" fmla="*/ 360039 h 432048"/>
              <a:gd name="connsiteX7" fmla="*/ 0 w 2392996"/>
              <a:gd name="connsiteY7" fmla="*/ 72009 h 432048"/>
              <a:gd name="connsiteX0" fmla="*/ 0 w 2426247"/>
              <a:gd name="connsiteY0" fmla="*/ 72009 h 432048"/>
              <a:gd name="connsiteX1" fmla="*/ 72009 w 2426247"/>
              <a:gd name="connsiteY1" fmla="*/ 0 h 432048"/>
              <a:gd name="connsiteX2" fmla="*/ 2088231 w 2426247"/>
              <a:gd name="connsiteY2" fmla="*/ 0 h 432048"/>
              <a:gd name="connsiteX3" fmla="*/ 2426247 w 2426247"/>
              <a:gd name="connsiteY3" fmla="*/ 227179 h 432048"/>
              <a:gd name="connsiteX4" fmla="*/ 2088231 w 2426247"/>
              <a:gd name="connsiteY4" fmla="*/ 432048 h 432048"/>
              <a:gd name="connsiteX5" fmla="*/ 72009 w 2426247"/>
              <a:gd name="connsiteY5" fmla="*/ 432048 h 432048"/>
              <a:gd name="connsiteX6" fmla="*/ 0 w 2426247"/>
              <a:gd name="connsiteY6" fmla="*/ 360039 h 432048"/>
              <a:gd name="connsiteX7" fmla="*/ 0 w 2426247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22717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009 h 432048"/>
              <a:gd name="connsiteX1" fmla="*/ 72009 w 2426291"/>
              <a:gd name="connsiteY1" fmla="*/ 0 h 432048"/>
              <a:gd name="connsiteX2" fmla="*/ 2088231 w 2426291"/>
              <a:gd name="connsiteY2" fmla="*/ 0 h 432048"/>
              <a:gd name="connsiteX3" fmla="*/ 2426247 w 2426291"/>
              <a:gd name="connsiteY3" fmla="*/ 199469 h 432048"/>
              <a:gd name="connsiteX4" fmla="*/ 2088231 w 2426291"/>
              <a:gd name="connsiteY4" fmla="*/ 432048 h 432048"/>
              <a:gd name="connsiteX5" fmla="*/ 72009 w 2426291"/>
              <a:gd name="connsiteY5" fmla="*/ 432048 h 432048"/>
              <a:gd name="connsiteX6" fmla="*/ 0 w 2426291"/>
              <a:gd name="connsiteY6" fmla="*/ 360039 h 432048"/>
              <a:gd name="connsiteX7" fmla="*/ 0 w 2426291"/>
              <a:gd name="connsiteY7" fmla="*/ 72009 h 432048"/>
              <a:gd name="connsiteX0" fmla="*/ 0 w 2426291"/>
              <a:gd name="connsiteY0" fmla="*/ 72145 h 432184"/>
              <a:gd name="connsiteX1" fmla="*/ 72009 w 2426291"/>
              <a:gd name="connsiteY1" fmla="*/ 136 h 432184"/>
              <a:gd name="connsiteX2" fmla="*/ 2088231 w 2426291"/>
              <a:gd name="connsiteY2" fmla="*/ 136 h 432184"/>
              <a:gd name="connsiteX3" fmla="*/ 2426247 w 2426291"/>
              <a:gd name="connsiteY3" fmla="*/ 199605 h 432184"/>
              <a:gd name="connsiteX4" fmla="*/ 2088231 w 2426291"/>
              <a:gd name="connsiteY4" fmla="*/ 432184 h 432184"/>
              <a:gd name="connsiteX5" fmla="*/ 72009 w 2426291"/>
              <a:gd name="connsiteY5" fmla="*/ 432184 h 432184"/>
              <a:gd name="connsiteX6" fmla="*/ 0 w 2426291"/>
              <a:gd name="connsiteY6" fmla="*/ 360175 h 432184"/>
              <a:gd name="connsiteX7" fmla="*/ 0 w 2426291"/>
              <a:gd name="connsiteY7" fmla="*/ 72145 h 432184"/>
              <a:gd name="connsiteX0" fmla="*/ 0 w 2426277"/>
              <a:gd name="connsiteY0" fmla="*/ 72145 h 432184"/>
              <a:gd name="connsiteX1" fmla="*/ 72009 w 2426277"/>
              <a:gd name="connsiteY1" fmla="*/ 136 h 432184"/>
              <a:gd name="connsiteX2" fmla="*/ 2088231 w 2426277"/>
              <a:gd name="connsiteY2" fmla="*/ 136 h 432184"/>
              <a:gd name="connsiteX3" fmla="*/ 2426247 w 2426277"/>
              <a:gd name="connsiteY3" fmla="*/ 199605 h 432184"/>
              <a:gd name="connsiteX4" fmla="*/ 2088231 w 2426277"/>
              <a:gd name="connsiteY4" fmla="*/ 432184 h 432184"/>
              <a:gd name="connsiteX5" fmla="*/ 72009 w 2426277"/>
              <a:gd name="connsiteY5" fmla="*/ 432184 h 432184"/>
              <a:gd name="connsiteX6" fmla="*/ 0 w 2426277"/>
              <a:gd name="connsiteY6" fmla="*/ 360175 h 432184"/>
              <a:gd name="connsiteX7" fmla="*/ 0 w 2426277"/>
              <a:gd name="connsiteY7" fmla="*/ 72145 h 432184"/>
              <a:gd name="connsiteX0" fmla="*/ 0 w 2426277"/>
              <a:gd name="connsiteY0" fmla="*/ 72120 h 432159"/>
              <a:gd name="connsiteX1" fmla="*/ 72009 w 2426277"/>
              <a:gd name="connsiteY1" fmla="*/ 111 h 432159"/>
              <a:gd name="connsiteX2" fmla="*/ 2088231 w 2426277"/>
              <a:gd name="connsiteY2" fmla="*/ 111 h 432159"/>
              <a:gd name="connsiteX3" fmla="*/ 2426247 w 2426277"/>
              <a:gd name="connsiteY3" fmla="*/ 199580 h 432159"/>
              <a:gd name="connsiteX4" fmla="*/ 2088231 w 2426277"/>
              <a:gd name="connsiteY4" fmla="*/ 432159 h 432159"/>
              <a:gd name="connsiteX5" fmla="*/ 72009 w 2426277"/>
              <a:gd name="connsiteY5" fmla="*/ 432159 h 432159"/>
              <a:gd name="connsiteX6" fmla="*/ 0 w 2426277"/>
              <a:gd name="connsiteY6" fmla="*/ 360150 h 432159"/>
              <a:gd name="connsiteX7" fmla="*/ 0 w 2426277"/>
              <a:gd name="connsiteY7" fmla="*/ 72120 h 432159"/>
              <a:gd name="connsiteX0" fmla="*/ 0 w 2426247"/>
              <a:gd name="connsiteY0" fmla="*/ 72120 h 432159"/>
              <a:gd name="connsiteX1" fmla="*/ 72009 w 2426247"/>
              <a:gd name="connsiteY1" fmla="*/ 111 h 432159"/>
              <a:gd name="connsiteX2" fmla="*/ 2088231 w 2426247"/>
              <a:gd name="connsiteY2" fmla="*/ 111 h 432159"/>
              <a:gd name="connsiteX3" fmla="*/ 2426247 w 2426247"/>
              <a:gd name="connsiteY3" fmla="*/ 199580 h 432159"/>
              <a:gd name="connsiteX4" fmla="*/ 2088231 w 2426247"/>
              <a:gd name="connsiteY4" fmla="*/ 432159 h 432159"/>
              <a:gd name="connsiteX5" fmla="*/ 72009 w 2426247"/>
              <a:gd name="connsiteY5" fmla="*/ 432159 h 432159"/>
              <a:gd name="connsiteX6" fmla="*/ 0 w 2426247"/>
              <a:gd name="connsiteY6" fmla="*/ 360150 h 432159"/>
              <a:gd name="connsiteX7" fmla="*/ 0 w 2426247"/>
              <a:gd name="connsiteY7" fmla="*/ 72120 h 432159"/>
              <a:gd name="connsiteX0" fmla="*/ 0 w 2520458"/>
              <a:gd name="connsiteY0" fmla="*/ 72117 h 432156"/>
              <a:gd name="connsiteX1" fmla="*/ 72009 w 2520458"/>
              <a:gd name="connsiteY1" fmla="*/ 108 h 432156"/>
              <a:gd name="connsiteX2" fmla="*/ 2088231 w 2520458"/>
              <a:gd name="connsiteY2" fmla="*/ 108 h 432156"/>
              <a:gd name="connsiteX3" fmla="*/ 2520458 w 2520458"/>
              <a:gd name="connsiteY3" fmla="*/ 205119 h 432156"/>
              <a:gd name="connsiteX4" fmla="*/ 2088231 w 2520458"/>
              <a:gd name="connsiteY4" fmla="*/ 432156 h 432156"/>
              <a:gd name="connsiteX5" fmla="*/ 72009 w 2520458"/>
              <a:gd name="connsiteY5" fmla="*/ 432156 h 432156"/>
              <a:gd name="connsiteX6" fmla="*/ 0 w 2520458"/>
              <a:gd name="connsiteY6" fmla="*/ 360147 h 432156"/>
              <a:gd name="connsiteX7" fmla="*/ 0 w 2520458"/>
              <a:gd name="connsiteY7" fmla="*/ 72117 h 432156"/>
              <a:gd name="connsiteX0" fmla="*/ 0 w 2583417"/>
              <a:gd name="connsiteY0" fmla="*/ 72116 h 432155"/>
              <a:gd name="connsiteX1" fmla="*/ 72009 w 2583417"/>
              <a:gd name="connsiteY1" fmla="*/ 107 h 432155"/>
              <a:gd name="connsiteX2" fmla="*/ 2088231 w 2583417"/>
              <a:gd name="connsiteY2" fmla="*/ 107 h 432155"/>
              <a:gd name="connsiteX3" fmla="*/ 2583417 w 2583417"/>
              <a:gd name="connsiteY3" fmla="*/ 208116 h 432155"/>
              <a:gd name="connsiteX4" fmla="*/ 2088231 w 2583417"/>
              <a:gd name="connsiteY4" fmla="*/ 432155 h 432155"/>
              <a:gd name="connsiteX5" fmla="*/ 72009 w 2583417"/>
              <a:gd name="connsiteY5" fmla="*/ 432155 h 432155"/>
              <a:gd name="connsiteX6" fmla="*/ 0 w 2583417"/>
              <a:gd name="connsiteY6" fmla="*/ 360146 h 432155"/>
              <a:gd name="connsiteX7" fmla="*/ 0 w 2583417"/>
              <a:gd name="connsiteY7" fmla="*/ 72116 h 432155"/>
              <a:gd name="connsiteX0" fmla="*/ 0 w 2607401"/>
              <a:gd name="connsiteY0" fmla="*/ 72099 h 432138"/>
              <a:gd name="connsiteX1" fmla="*/ 72009 w 2607401"/>
              <a:gd name="connsiteY1" fmla="*/ 90 h 432138"/>
              <a:gd name="connsiteX2" fmla="*/ 2088231 w 2607401"/>
              <a:gd name="connsiteY2" fmla="*/ 90 h 432138"/>
              <a:gd name="connsiteX3" fmla="*/ 2607401 w 2607401"/>
              <a:gd name="connsiteY3" fmla="*/ 250071 h 432138"/>
              <a:gd name="connsiteX4" fmla="*/ 2088231 w 2607401"/>
              <a:gd name="connsiteY4" fmla="*/ 432138 h 432138"/>
              <a:gd name="connsiteX5" fmla="*/ 72009 w 2607401"/>
              <a:gd name="connsiteY5" fmla="*/ 432138 h 432138"/>
              <a:gd name="connsiteX6" fmla="*/ 0 w 2607401"/>
              <a:gd name="connsiteY6" fmla="*/ 360129 h 432138"/>
              <a:gd name="connsiteX7" fmla="*/ 0 w 2607401"/>
              <a:gd name="connsiteY7" fmla="*/ 72099 h 432138"/>
              <a:gd name="connsiteX0" fmla="*/ 0 w 2661365"/>
              <a:gd name="connsiteY0" fmla="*/ 72100 h 432139"/>
              <a:gd name="connsiteX1" fmla="*/ 72009 w 2661365"/>
              <a:gd name="connsiteY1" fmla="*/ 91 h 432139"/>
              <a:gd name="connsiteX2" fmla="*/ 2088231 w 2661365"/>
              <a:gd name="connsiteY2" fmla="*/ 91 h 432139"/>
              <a:gd name="connsiteX3" fmla="*/ 2661365 w 2661365"/>
              <a:gd name="connsiteY3" fmla="*/ 244076 h 432139"/>
              <a:gd name="connsiteX4" fmla="*/ 2088231 w 2661365"/>
              <a:gd name="connsiteY4" fmla="*/ 432139 h 432139"/>
              <a:gd name="connsiteX5" fmla="*/ 72009 w 2661365"/>
              <a:gd name="connsiteY5" fmla="*/ 432139 h 432139"/>
              <a:gd name="connsiteX6" fmla="*/ 0 w 2661365"/>
              <a:gd name="connsiteY6" fmla="*/ 360130 h 432139"/>
              <a:gd name="connsiteX7" fmla="*/ 0 w 2661365"/>
              <a:gd name="connsiteY7" fmla="*/ 72100 h 432139"/>
              <a:gd name="connsiteX0" fmla="*/ 0 w 2598407"/>
              <a:gd name="connsiteY0" fmla="*/ 72109 h 432148"/>
              <a:gd name="connsiteX1" fmla="*/ 72009 w 2598407"/>
              <a:gd name="connsiteY1" fmla="*/ 100 h 432148"/>
              <a:gd name="connsiteX2" fmla="*/ 2088231 w 2598407"/>
              <a:gd name="connsiteY2" fmla="*/ 100 h 432148"/>
              <a:gd name="connsiteX3" fmla="*/ 2598407 w 2598407"/>
              <a:gd name="connsiteY3" fmla="*/ 220101 h 432148"/>
              <a:gd name="connsiteX4" fmla="*/ 2088231 w 2598407"/>
              <a:gd name="connsiteY4" fmla="*/ 432148 h 432148"/>
              <a:gd name="connsiteX5" fmla="*/ 72009 w 2598407"/>
              <a:gd name="connsiteY5" fmla="*/ 432148 h 432148"/>
              <a:gd name="connsiteX6" fmla="*/ 0 w 2598407"/>
              <a:gd name="connsiteY6" fmla="*/ 360139 h 432148"/>
              <a:gd name="connsiteX7" fmla="*/ 0 w 2598407"/>
              <a:gd name="connsiteY7" fmla="*/ 72109 h 432148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541"/>
              <a:gd name="connsiteY0" fmla="*/ 72121 h 432160"/>
              <a:gd name="connsiteX1" fmla="*/ 72009 w 2538541"/>
              <a:gd name="connsiteY1" fmla="*/ 112 h 432160"/>
              <a:gd name="connsiteX2" fmla="*/ 2088231 w 2538541"/>
              <a:gd name="connsiteY2" fmla="*/ 112 h 432160"/>
              <a:gd name="connsiteX3" fmla="*/ 2538446 w 2538541"/>
              <a:gd name="connsiteY3" fmla="*/ 196129 h 432160"/>
              <a:gd name="connsiteX4" fmla="*/ 2088231 w 2538541"/>
              <a:gd name="connsiteY4" fmla="*/ 432160 h 432160"/>
              <a:gd name="connsiteX5" fmla="*/ 72009 w 2538541"/>
              <a:gd name="connsiteY5" fmla="*/ 432160 h 432160"/>
              <a:gd name="connsiteX6" fmla="*/ 0 w 2538541"/>
              <a:gd name="connsiteY6" fmla="*/ 360151 h 432160"/>
              <a:gd name="connsiteX7" fmla="*/ 0 w 2538541"/>
              <a:gd name="connsiteY7" fmla="*/ 72121 h 432160"/>
              <a:gd name="connsiteX0" fmla="*/ 0 w 2538446"/>
              <a:gd name="connsiteY0" fmla="*/ 72121 h 432160"/>
              <a:gd name="connsiteX1" fmla="*/ 72009 w 2538446"/>
              <a:gd name="connsiteY1" fmla="*/ 112 h 432160"/>
              <a:gd name="connsiteX2" fmla="*/ 2088231 w 2538446"/>
              <a:gd name="connsiteY2" fmla="*/ 112 h 432160"/>
              <a:gd name="connsiteX3" fmla="*/ 2538446 w 2538446"/>
              <a:gd name="connsiteY3" fmla="*/ 196129 h 432160"/>
              <a:gd name="connsiteX4" fmla="*/ 2088231 w 2538446"/>
              <a:gd name="connsiteY4" fmla="*/ 432160 h 432160"/>
              <a:gd name="connsiteX5" fmla="*/ 72009 w 2538446"/>
              <a:gd name="connsiteY5" fmla="*/ 432160 h 432160"/>
              <a:gd name="connsiteX6" fmla="*/ 0 w 2538446"/>
              <a:gd name="connsiteY6" fmla="*/ 360151 h 432160"/>
              <a:gd name="connsiteX7" fmla="*/ 0 w 2538446"/>
              <a:gd name="connsiteY7" fmla="*/ 72121 h 432160"/>
              <a:gd name="connsiteX0" fmla="*/ 0 w 2538446"/>
              <a:gd name="connsiteY0" fmla="*/ 72121 h 432332"/>
              <a:gd name="connsiteX1" fmla="*/ 72009 w 2538446"/>
              <a:gd name="connsiteY1" fmla="*/ 112 h 432332"/>
              <a:gd name="connsiteX2" fmla="*/ 2088231 w 2538446"/>
              <a:gd name="connsiteY2" fmla="*/ 112 h 432332"/>
              <a:gd name="connsiteX3" fmla="*/ 2538446 w 2538446"/>
              <a:gd name="connsiteY3" fmla="*/ 196129 h 432332"/>
              <a:gd name="connsiteX4" fmla="*/ 2088231 w 2538446"/>
              <a:gd name="connsiteY4" fmla="*/ 432160 h 432332"/>
              <a:gd name="connsiteX5" fmla="*/ 72009 w 2538446"/>
              <a:gd name="connsiteY5" fmla="*/ 432160 h 432332"/>
              <a:gd name="connsiteX6" fmla="*/ 0 w 2538446"/>
              <a:gd name="connsiteY6" fmla="*/ 360151 h 432332"/>
              <a:gd name="connsiteX7" fmla="*/ 0 w 2538446"/>
              <a:gd name="connsiteY7" fmla="*/ 72121 h 432332"/>
              <a:gd name="connsiteX0" fmla="*/ 0 w 2538504"/>
              <a:gd name="connsiteY0" fmla="*/ 72117 h 432328"/>
              <a:gd name="connsiteX1" fmla="*/ 72009 w 2538504"/>
              <a:gd name="connsiteY1" fmla="*/ 108 h 432328"/>
              <a:gd name="connsiteX2" fmla="*/ 2088231 w 2538504"/>
              <a:gd name="connsiteY2" fmla="*/ 108 h 432328"/>
              <a:gd name="connsiteX3" fmla="*/ 2538446 w 2538504"/>
              <a:gd name="connsiteY3" fmla="*/ 196125 h 432328"/>
              <a:gd name="connsiteX4" fmla="*/ 2088231 w 2538504"/>
              <a:gd name="connsiteY4" fmla="*/ 432156 h 432328"/>
              <a:gd name="connsiteX5" fmla="*/ 72009 w 2538504"/>
              <a:gd name="connsiteY5" fmla="*/ 432156 h 432328"/>
              <a:gd name="connsiteX6" fmla="*/ 0 w 2538504"/>
              <a:gd name="connsiteY6" fmla="*/ 360147 h 432328"/>
              <a:gd name="connsiteX7" fmla="*/ 0 w 2538504"/>
              <a:gd name="connsiteY7" fmla="*/ 72117 h 432328"/>
              <a:gd name="connsiteX0" fmla="*/ 0 w 2538504"/>
              <a:gd name="connsiteY0" fmla="*/ 72111 h 432332"/>
              <a:gd name="connsiteX1" fmla="*/ 72009 w 2538504"/>
              <a:gd name="connsiteY1" fmla="*/ 102 h 432332"/>
              <a:gd name="connsiteX2" fmla="*/ 2088231 w 2538504"/>
              <a:gd name="connsiteY2" fmla="*/ 102 h 432332"/>
              <a:gd name="connsiteX3" fmla="*/ 2538446 w 2538504"/>
              <a:gd name="connsiteY3" fmla="*/ 210265 h 432332"/>
              <a:gd name="connsiteX4" fmla="*/ 2088231 w 2538504"/>
              <a:gd name="connsiteY4" fmla="*/ 432150 h 432332"/>
              <a:gd name="connsiteX5" fmla="*/ 72009 w 2538504"/>
              <a:gd name="connsiteY5" fmla="*/ 432150 h 432332"/>
              <a:gd name="connsiteX6" fmla="*/ 0 w 2538504"/>
              <a:gd name="connsiteY6" fmla="*/ 360141 h 432332"/>
              <a:gd name="connsiteX7" fmla="*/ 0 w 2538504"/>
              <a:gd name="connsiteY7" fmla="*/ 72111 h 432332"/>
              <a:gd name="connsiteX0" fmla="*/ 0 w 2538504"/>
              <a:gd name="connsiteY0" fmla="*/ 72111 h 432356"/>
              <a:gd name="connsiteX1" fmla="*/ 72009 w 2538504"/>
              <a:gd name="connsiteY1" fmla="*/ 102 h 432356"/>
              <a:gd name="connsiteX2" fmla="*/ 2088231 w 2538504"/>
              <a:gd name="connsiteY2" fmla="*/ 102 h 432356"/>
              <a:gd name="connsiteX3" fmla="*/ 2538446 w 2538504"/>
              <a:gd name="connsiteY3" fmla="*/ 210265 h 432356"/>
              <a:gd name="connsiteX4" fmla="*/ 2088231 w 2538504"/>
              <a:gd name="connsiteY4" fmla="*/ 432150 h 432356"/>
              <a:gd name="connsiteX5" fmla="*/ 72009 w 2538504"/>
              <a:gd name="connsiteY5" fmla="*/ 432150 h 432356"/>
              <a:gd name="connsiteX6" fmla="*/ 0 w 2538504"/>
              <a:gd name="connsiteY6" fmla="*/ 360141 h 432356"/>
              <a:gd name="connsiteX7" fmla="*/ 0 w 2538504"/>
              <a:gd name="connsiteY7" fmla="*/ 72111 h 432356"/>
              <a:gd name="connsiteX0" fmla="*/ 0 w 2538446"/>
              <a:gd name="connsiteY0" fmla="*/ 73192 h 433437"/>
              <a:gd name="connsiteX1" fmla="*/ 72009 w 2538446"/>
              <a:gd name="connsiteY1" fmla="*/ 1183 h 433437"/>
              <a:gd name="connsiteX2" fmla="*/ 2088231 w 2538446"/>
              <a:gd name="connsiteY2" fmla="*/ 1183 h 433437"/>
              <a:gd name="connsiteX3" fmla="*/ 2538446 w 2538446"/>
              <a:gd name="connsiteY3" fmla="*/ 211346 h 433437"/>
              <a:gd name="connsiteX4" fmla="*/ 2088231 w 2538446"/>
              <a:gd name="connsiteY4" fmla="*/ 433231 h 433437"/>
              <a:gd name="connsiteX5" fmla="*/ 72009 w 2538446"/>
              <a:gd name="connsiteY5" fmla="*/ 433231 h 433437"/>
              <a:gd name="connsiteX6" fmla="*/ 0 w 2538446"/>
              <a:gd name="connsiteY6" fmla="*/ 361222 h 433437"/>
              <a:gd name="connsiteX7" fmla="*/ 0 w 2538446"/>
              <a:gd name="connsiteY7" fmla="*/ 73192 h 433437"/>
              <a:gd name="connsiteX0" fmla="*/ 0 w 2538446"/>
              <a:gd name="connsiteY0" fmla="*/ 73004 h 433249"/>
              <a:gd name="connsiteX1" fmla="*/ 72009 w 2538446"/>
              <a:gd name="connsiteY1" fmla="*/ 995 h 433249"/>
              <a:gd name="connsiteX2" fmla="*/ 2088231 w 2538446"/>
              <a:gd name="connsiteY2" fmla="*/ 995 h 433249"/>
              <a:gd name="connsiteX3" fmla="*/ 2538446 w 2538446"/>
              <a:gd name="connsiteY3" fmla="*/ 211158 h 433249"/>
              <a:gd name="connsiteX4" fmla="*/ 2088231 w 2538446"/>
              <a:gd name="connsiteY4" fmla="*/ 433043 h 433249"/>
              <a:gd name="connsiteX5" fmla="*/ 72009 w 2538446"/>
              <a:gd name="connsiteY5" fmla="*/ 433043 h 433249"/>
              <a:gd name="connsiteX6" fmla="*/ 0 w 2538446"/>
              <a:gd name="connsiteY6" fmla="*/ 361034 h 433249"/>
              <a:gd name="connsiteX7" fmla="*/ 0 w 2538446"/>
              <a:gd name="connsiteY7" fmla="*/ 73004 h 433249"/>
              <a:gd name="connsiteX0" fmla="*/ 0 w 2538446"/>
              <a:gd name="connsiteY0" fmla="*/ 73004 h 434912"/>
              <a:gd name="connsiteX1" fmla="*/ 72009 w 2538446"/>
              <a:gd name="connsiteY1" fmla="*/ 995 h 434912"/>
              <a:gd name="connsiteX2" fmla="*/ 2088231 w 2538446"/>
              <a:gd name="connsiteY2" fmla="*/ 995 h 434912"/>
              <a:gd name="connsiteX3" fmla="*/ 2538446 w 2538446"/>
              <a:gd name="connsiteY3" fmla="*/ 211158 h 434912"/>
              <a:gd name="connsiteX4" fmla="*/ 2088231 w 2538446"/>
              <a:gd name="connsiteY4" fmla="*/ 433043 h 434912"/>
              <a:gd name="connsiteX5" fmla="*/ 72009 w 2538446"/>
              <a:gd name="connsiteY5" fmla="*/ 433043 h 434912"/>
              <a:gd name="connsiteX6" fmla="*/ 0 w 2538446"/>
              <a:gd name="connsiteY6" fmla="*/ 361034 h 434912"/>
              <a:gd name="connsiteX7" fmla="*/ 0 w 2538446"/>
              <a:gd name="connsiteY7" fmla="*/ 73004 h 434912"/>
              <a:gd name="connsiteX0" fmla="*/ 0 w 2538446"/>
              <a:gd name="connsiteY0" fmla="*/ 73195 h 435103"/>
              <a:gd name="connsiteX1" fmla="*/ 72009 w 2538446"/>
              <a:gd name="connsiteY1" fmla="*/ 1186 h 435103"/>
              <a:gd name="connsiteX2" fmla="*/ 2088231 w 2538446"/>
              <a:gd name="connsiteY2" fmla="*/ 1186 h 435103"/>
              <a:gd name="connsiteX3" fmla="*/ 2538446 w 2538446"/>
              <a:gd name="connsiteY3" fmla="*/ 211349 h 435103"/>
              <a:gd name="connsiteX4" fmla="*/ 2088231 w 2538446"/>
              <a:gd name="connsiteY4" fmla="*/ 433234 h 435103"/>
              <a:gd name="connsiteX5" fmla="*/ 72009 w 2538446"/>
              <a:gd name="connsiteY5" fmla="*/ 433234 h 435103"/>
              <a:gd name="connsiteX6" fmla="*/ 0 w 2538446"/>
              <a:gd name="connsiteY6" fmla="*/ 361225 h 435103"/>
              <a:gd name="connsiteX7" fmla="*/ 0 w 2538446"/>
              <a:gd name="connsiteY7" fmla="*/ 73195 h 435103"/>
              <a:gd name="connsiteX0" fmla="*/ 0 w 2538459"/>
              <a:gd name="connsiteY0" fmla="*/ 72009 h 433917"/>
              <a:gd name="connsiteX1" fmla="*/ 72009 w 2538459"/>
              <a:gd name="connsiteY1" fmla="*/ 0 h 433917"/>
              <a:gd name="connsiteX2" fmla="*/ 2088231 w 2538459"/>
              <a:gd name="connsiteY2" fmla="*/ 0 h 433917"/>
              <a:gd name="connsiteX3" fmla="*/ 2316843 w 2538459"/>
              <a:gd name="connsiteY3" fmla="*/ 64721 h 433917"/>
              <a:gd name="connsiteX4" fmla="*/ 2538446 w 2538459"/>
              <a:gd name="connsiteY4" fmla="*/ 210163 h 433917"/>
              <a:gd name="connsiteX5" fmla="*/ 2088231 w 2538459"/>
              <a:gd name="connsiteY5" fmla="*/ 432048 h 433917"/>
              <a:gd name="connsiteX6" fmla="*/ 72009 w 2538459"/>
              <a:gd name="connsiteY6" fmla="*/ 432048 h 433917"/>
              <a:gd name="connsiteX7" fmla="*/ 0 w 2538459"/>
              <a:gd name="connsiteY7" fmla="*/ 360039 h 433917"/>
              <a:gd name="connsiteX8" fmla="*/ 0 w 2538459"/>
              <a:gd name="connsiteY8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3917"/>
              <a:gd name="connsiteX1" fmla="*/ 72009 w 2538446"/>
              <a:gd name="connsiteY1" fmla="*/ 0 h 433917"/>
              <a:gd name="connsiteX2" fmla="*/ 2088231 w 2538446"/>
              <a:gd name="connsiteY2" fmla="*/ 0 h 433917"/>
              <a:gd name="connsiteX3" fmla="*/ 2538446 w 2538446"/>
              <a:gd name="connsiteY3" fmla="*/ 210163 h 433917"/>
              <a:gd name="connsiteX4" fmla="*/ 2088231 w 2538446"/>
              <a:gd name="connsiteY4" fmla="*/ 432048 h 433917"/>
              <a:gd name="connsiteX5" fmla="*/ 72009 w 2538446"/>
              <a:gd name="connsiteY5" fmla="*/ 432048 h 433917"/>
              <a:gd name="connsiteX6" fmla="*/ 0 w 2538446"/>
              <a:gd name="connsiteY6" fmla="*/ 360039 h 433917"/>
              <a:gd name="connsiteX7" fmla="*/ 0 w 2538446"/>
              <a:gd name="connsiteY7" fmla="*/ 72009 h 433917"/>
              <a:gd name="connsiteX0" fmla="*/ 0 w 2538446"/>
              <a:gd name="connsiteY0" fmla="*/ 72009 h 432048"/>
              <a:gd name="connsiteX1" fmla="*/ 72009 w 2538446"/>
              <a:gd name="connsiteY1" fmla="*/ 0 h 432048"/>
              <a:gd name="connsiteX2" fmla="*/ 2088231 w 2538446"/>
              <a:gd name="connsiteY2" fmla="*/ 0 h 432048"/>
              <a:gd name="connsiteX3" fmla="*/ 2538446 w 2538446"/>
              <a:gd name="connsiteY3" fmla="*/ 210163 h 432048"/>
              <a:gd name="connsiteX4" fmla="*/ 2088231 w 2538446"/>
              <a:gd name="connsiteY4" fmla="*/ 432048 h 432048"/>
              <a:gd name="connsiteX5" fmla="*/ 72009 w 2538446"/>
              <a:gd name="connsiteY5" fmla="*/ 432048 h 432048"/>
              <a:gd name="connsiteX6" fmla="*/ 0 w 2538446"/>
              <a:gd name="connsiteY6" fmla="*/ 360039 h 432048"/>
              <a:gd name="connsiteX7" fmla="*/ 0 w 2538446"/>
              <a:gd name="connsiteY7" fmla="*/ 72009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38446" h="432048">
                <a:moveTo>
                  <a:pt x="0" y="72009"/>
                </a:moveTo>
                <a:cubicBezTo>
                  <a:pt x="0" y="32240"/>
                  <a:pt x="32240" y="0"/>
                  <a:pt x="72009" y="0"/>
                </a:cubicBezTo>
                <a:lnTo>
                  <a:pt x="2088231" y="0"/>
                </a:lnTo>
                <a:cubicBezTo>
                  <a:pt x="2084302" y="127"/>
                  <a:pt x="2427316" y="155605"/>
                  <a:pt x="2538446" y="210163"/>
                </a:cubicBezTo>
                <a:lnTo>
                  <a:pt x="2088231" y="432048"/>
                </a:lnTo>
                <a:lnTo>
                  <a:pt x="72009" y="432048"/>
                </a:lnTo>
                <a:cubicBezTo>
                  <a:pt x="32240" y="432048"/>
                  <a:pt x="0" y="399808"/>
                  <a:pt x="0" y="360039"/>
                </a:cubicBezTo>
                <a:lnTo>
                  <a:pt x="0" y="72009"/>
                </a:lnTo>
                <a:close/>
              </a:path>
            </a:pathLst>
          </a:custGeom>
          <a:solidFill>
            <a:srgbClr val="009999"/>
          </a:solidFill>
          <a:ln w="50800" cap="rnd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s-ES" sz="2400">
              <a:solidFill>
                <a:schemeClr val="tx1"/>
              </a:solidFill>
            </a:endParaRPr>
          </a:p>
        </p:txBody>
      </p:sp>
      <p:sp>
        <p:nvSpPr>
          <p:cNvPr id="14" name="13 CuadroTexto">
            <a:extLst>
              <a:ext uri="{FF2B5EF4-FFF2-40B4-BE49-F238E27FC236}">
                <a16:creationId xmlns:a16="http://schemas.microsoft.com/office/drawing/2014/main" id="{E7CBDB75-058A-4A57-AF20-1C4FA322A047}"/>
              </a:ext>
            </a:extLst>
          </p:cNvPr>
          <p:cNvSpPr txBox="1"/>
          <p:nvPr/>
        </p:nvSpPr>
        <p:spPr bwMode="auto">
          <a:xfrm>
            <a:off x="157725" y="2698025"/>
            <a:ext cx="2095500" cy="1816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es-ES" sz="1867" b="1" dirty="0">
                <a:latin typeface="Calibri" panose="020F0502020204030204" pitchFamily="34" charset="0"/>
                <a:cs typeface="Calibri" panose="020F0502020204030204" pitchFamily="34" charset="0"/>
              </a:rPr>
              <a:t>IMPARTIDO POR EMPRESAS  DE FORMACIÓN HOMOLOGADAS MEDIANTE CERTIFICACIÓN </a:t>
            </a:r>
            <a:endParaRPr lang="es-ES" sz="1867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2" name="1 Título">
            <a:extLst>
              <a:ext uri="{FF2B5EF4-FFF2-40B4-BE49-F238E27FC236}">
                <a16:creationId xmlns:a16="http://schemas.microsoft.com/office/drawing/2014/main" id="{7A5C0992-11BC-49B2-A595-858DF39EEA6D}"/>
              </a:ext>
            </a:extLst>
          </p:cNvPr>
          <p:cNvSpPr txBox="1">
            <a:spLocks/>
          </p:cNvSpPr>
          <p:nvPr/>
        </p:nvSpPr>
        <p:spPr bwMode="auto">
          <a:xfrm>
            <a:off x="48683" y="-112112"/>
            <a:ext cx="11904133" cy="1441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1pPr>
            <a:lvl2pPr marL="742950" indent="-28575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2pPr>
            <a:lvl3pPr marL="11430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3pPr>
            <a:lvl4pPr marL="16002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4pPr>
            <a:lvl5pPr marL="2057400" indent="-228600"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anose="020B0604020202020204" pitchFamily="34" charset="0"/>
                <a:ea typeface="ヒラギノ角ゴ ProN W3" charset="-128"/>
                <a:sym typeface="Gill Sans" charset="0"/>
              </a:defRPr>
            </a:lvl9pPr>
          </a:lstStyle>
          <a:p>
            <a:pPr eaLnBrk="1" hangingPunct="1"/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Acuerdo </a:t>
            </a:r>
            <a:r>
              <a:rPr lang="es-ES" altLang="es-ES" sz="4000" b="1" dirty="0">
                <a:solidFill>
                  <a:srgbClr val="009999"/>
                </a:solidFill>
                <a:latin typeface="Calibri" panose="020F0502020204030204" pitchFamily="34" charset="0"/>
              </a:rPr>
              <a:t>TELCO </a:t>
            </a:r>
            <a:r>
              <a:rPr lang="es-ES" altLang="es-ES" sz="4000" b="1" dirty="0">
                <a:solidFill>
                  <a:schemeClr val="tx1"/>
                </a:solidFill>
                <a:latin typeface="Calibri" panose="020F0502020204030204" pitchFamily="34" charset="0"/>
              </a:rPr>
              <a:t>Formación:</a:t>
            </a:r>
            <a:r>
              <a:rPr lang="es-ES" altLang="es-ES" sz="4800" b="1" dirty="0">
                <a:solidFill>
                  <a:srgbClr val="33CCCC"/>
                </a:solidFill>
                <a:latin typeface="Calibri" panose="020F0502020204030204" pitchFamily="34" charset="0"/>
              </a:rPr>
              <a:t>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empresas </a:t>
            </a:r>
            <a:r>
              <a:rPr lang="es-ES" altLang="es-ES" sz="3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de formación </a:t>
            </a:r>
            <a:r>
              <a:rPr lang="es-ES" altLang="es-ES" sz="3600" b="1" dirty="0">
                <a:solidFill>
                  <a:schemeClr val="tx1"/>
                </a:solidFill>
                <a:latin typeface="Calibri" panose="020F0502020204030204" pitchFamily="34" charset="0"/>
              </a:rPr>
              <a:t>homologadas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6516" y="146412"/>
            <a:ext cx="1438338" cy="223644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2062" y="2946280"/>
            <a:ext cx="1552792" cy="1286054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41115" y="4748823"/>
            <a:ext cx="1514686" cy="1295581"/>
          </a:xfrm>
          <a:prstGeom prst="rect">
            <a:avLst/>
          </a:prstGeom>
        </p:spPr>
      </p:pic>
      <p:sp>
        <p:nvSpPr>
          <p:cNvPr id="5" name="Elipse 4"/>
          <p:cNvSpPr/>
          <p:nvPr/>
        </p:nvSpPr>
        <p:spPr>
          <a:xfrm rot="20481665">
            <a:off x="2944810" y="4443301"/>
            <a:ext cx="2322286" cy="630419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/>
              <a:t>101 entidades autorizadas</a:t>
            </a:r>
            <a:endParaRPr lang="es-ES" dirty="0"/>
          </a:p>
        </p:txBody>
      </p:sp>
      <p:sp>
        <p:nvSpPr>
          <p:cNvPr id="13" name="Elipse 12"/>
          <p:cNvSpPr/>
          <p:nvPr/>
        </p:nvSpPr>
        <p:spPr>
          <a:xfrm rot="20096727">
            <a:off x="9845487" y="2101289"/>
            <a:ext cx="2322286" cy="630419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/>
              <a:t>2 entidades certificadoras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uHJrPwkEyzibS80pES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4RDxFeXUazQ.sp9D0r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jBswE0AkGCjNtmSW.z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.ztBsyYUK0Dunkdogw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URbG3EkUqxXLOHwUvF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izC_9pdUay6H7Xlth6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e2lhuvjUuUIH84.8MeGg"/>
</p:tagLst>
</file>

<file path=ppt/theme/theme1.xml><?xml version="1.0" encoding="utf-8"?>
<a:theme xmlns:a="http://schemas.openxmlformats.org/drawingml/2006/main" name="PORTADAS">
  <a:themeElements>
    <a:clrScheme name="Personalizar 16">
      <a:dk1>
        <a:srgbClr val="003042"/>
      </a:dk1>
      <a:lt1>
        <a:srgbClr val="FFFFFF"/>
      </a:lt1>
      <a:dk2>
        <a:srgbClr val="0093B7"/>
      </a:dk2>
      <a:lt2>
        <a:srgbClr val="00EDFF"/>
      </a:lt2>
      <a:accent1>
        <a:srgbClr val="4D515A"/>
      </a:accent1>
      <a:accent2>
        <a:srgbClr val="980097"/>
      </a:accent2>
      <a:accent3>
        <a:srgbClr val="FFFE06"/>
      </a:accent3>
      <a:accent4>
        <a:srgbClr val="0FFE99"/>
      </a:accent4>
      <a:accent5>
        <a:srgbClr val="FF7B03"/>
      </a:accent5>
      <a:accent6>
        <a:srgbClr val="FE4A4A"/>
      </a:accent6>
      <a:hlink>
        <a:srgbClr val="00ECFF"/>
      </a:hlink>
      <a:folHlink>
        <a:srgbClr val="008DAF"/>
      </a:folHlink>
    </a:clrScheme>
    <a:fontScheme name="TELEFÓNICA">
      <a:majorFont>
        <a:latin typeface="Telefonica"/>
        <a:ea typeface=""/>
        <a:cs typeface=""/>
      </a:majorFont>
      <a:minorFont>
        <a:latin typeface="Telefon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>
            <a:solidFill>
              <a:schemeClr val="bg1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CONTENIDO">
  <a:themeElements>
    <a:clrScheme name="Personalizar 16">
      <a:dk1>
        <a:srgbClr val="003042"/>
      </a:dk1>
      <a:lt1>
        <a:srgbClr val="FFFFFF"/>
      </a:lt1>
      <a:dk2>
        <a:srgbClr val="0093B7"/>
      </a:dk2>
      <a:lt2>
        <a:srgbClr val="00EDFF"/>
      </a:lt2>
      <a:accent1>
        <a:srgbClr val="4D515A"/>
      </a:accent1>
      <a:accent2>
        <a:srgbClr val="980097"/>
      </a:accent2>
      <a:accent3>
        <a:srgbClr val="FFFE06"/>
      </a:accent3>
      <a:accent4>
        <a:srgbClr val="0FFE99"/>
      </a:accent4>
      <a:accent5>
        <a:srgbClr val="FF7B03"/>
      </a:accent5>
      <a:accent6>
        <a:srgbClr val="FE4A4A"/>
      </a:accent6>
      <a:hlink>
        <a:srgbClr val="00ECFF"/>
      </a:hlink>
      <a:folHlink>
        <a:srgbClr val="008DAF"/>
      </a:folHlink>
    </a:clrScheme>
    <a:fontScheme name="TELEFÓNICA">
      <a:majorFont>
        <a:latin typeface="Telefonica"/>
        <a:ea typeface=""/>
        <a:cs typeface=""/>
      </a:majorFont>
      <a:minorFont>
        <a:latin typeface="Telefon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>
            <a:solidFill>
              <a:schemeClr val="bg1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BIENVENIDOS">
  <a:themeElements>
    <a:clrScheme name="Personalizar 16">
      <a:dk1>
        <a:srgbClr val="003042"/>
      </a:dk1>
      <a:lt1>
        <a:srgbClr val="FFFFFF"/>
      </a:lt1>
      <a:dk2>
        <a:srgbClr val="0093B7"/>
      </a:dk2>
      <a:lt2>
        <a:srgbClr val="00EDFF"/>
      </a:lt2>
      <a:accent1>
        <a:srgbClr val="4D515A"/>
      </a:accent1>
      <a:accent2>
        <a:srgbClr val="980097"/>
      </a:accent2>
      <a:accent3>
        <a:srgbClr val="FFFE06"/>
      </a:accent3>
      <a:accent4>
        <a:srgbClr val="0FFE99"/>
      </a:accent4>
      <a:accent5>
        <a:srgbClr val="FF7B03"/>
      </a:accent5>
      <a:accent6>
        <a:srgbClr val="FE4A4A"/>
      </a:accent6>
      <a:hlink>
        <a:srgbClr val="00ECFF"/>
      </a:hlink>
      <a:folHlink>
        <a:srgbClr val="008D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>
            <a:solidFill>
              <a:schemeClr val="bg1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BIENVENIDOS_">
  <a:themeElements>
    <a:clrScheme name="Personalizar 16">
      <a:dk1>
        <a:srgbClr val="003042"/>
      </a:dk1>
      <a:lt1>
        <a:srgbClr val="FFFFFF"/>
      </a:lt1>
      <a:dk2>
        <a:srgbClr val="0093B7"/>
      </a:dk2>
      <a:lt2>
        <a:srgbClr val="00EDFF"/>
      </a:lt2>
      <a:accent1>
        <a:srgbClr val="4D515A"/>
      </a:accent1>
      <a:accent2>
        <a:srgbClr val="980097"/>
      </a:accent2>
      <a:accent3>
        <a:srgbClr val="FFFE06"/>
      </a:accent3>
      <a:accent4>
        <a:srgbClr val="0FFE99"/>
      </a:accent4>
      <a:accent5>
        <a:srgbClr val="FF7B03"/>
      </a:accent5>
      <a:accent6>
        <a:srgbClr val="FE4A4A"/>
      </a:accent6>
      <a:hlink>
        <a:srgbClr val="00ECFF"/>
      </a:hlink>
      <a:folHlink>
        <a:srgbClr val="008D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>
            <a:solidFill>
              <a:schemeClr val="bg1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Cierre">
  <a:themeElements>
    <a:clrScheme name="PALETA COLORES PPT TELEFÓNICA">
      <a:dk1>
        <a:srgbClr val="008597"/>
      </a:dk1>
      <a:lt1>
        <a:srgbClr val="FFFFFF"/>
      </a:lt1>
      <a:dk2>
        <a:srgbClr val="006476"/>
      </a:dk2>
      <a:lt2>
        <a:srgbClr val="00C6DA"/>
      </a:lt2>
      <a:accent1>
        <a:srgbClr val="62E7FF"/>
      </a:accent1>
      <a:accent2>
        <a:srgbClr val="990099"/>
      </a:accent2>
      <a:accent3>
        <a:srgbClr val="FFFF00"/>
      </a:accent3>
      <a:accent4>
        <a:srgbClr val="00FF99"/>
      </a:accent4>
      <a:accent5>
        <a:srgbClr val="FF6633"/>
      </a:accent5>
      <a:accent6>
        <a:srgbClr val="003245"/>
      </a:accent6>
      <a:hlink>
        <a:srgbClr val="9A479C"/>
      </a:hlink>
      <a:folHlink>
        <a:srgbClr val="9292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=""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=""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 eaLnBrk="1" hangingPunct="1">
          <a:defRPr sz="1800" dirty="0" err="1" smtClean="0">
            <a:solidFill>
              <a:schemeClr val="bg1"/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R_template_external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D2DB4C26FFED4590AFD9C42D0EFD40" ma:contentTypeVersion="11" ma:contentTypeDescription="Create a new document." ma:contentTypeScope="" ma:versionID="91d494aebcc1bd0f1ff9c6311ea9f026">
  <xsd:schema xmlns:xsd="http://www.w3.org/2001/XMLSchema" xmlns:xs="http://www.w3.org/2001/XMLSchema" xmlns:p="http://schemas.microsoft.com/office/2006/metadata/properties" xmlns:ns3="6b21be93-ec03-437f-b591-a2f2f17e74a1" xmlns:ns4="03800d5b-ab59-4b57-9448-9421640726bf" targetNamespace="http://schemas.microsoft.com/office/2006/metadata/properties" ma:root="true" ma:fieldsID="e5a7cf7c48458a1dae8b9ccac79052c3" ns3:_="" ns4:_="">
    <xsd:import namespace="6b21be93-ec03-437f-b591-a2f2f17e74a1"/>
    <xsd:import namespace="03800d5b-ab59-4b57-9448-9421640726b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21be93-ec03-437f-b591-a2f2f17e74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00d5b-ab59-4b57-9448-9421640726b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90EE9EB-071C-497A-AD99-6D035DB87D6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3B8935-BD2A-42D5-AF42-A1262C3D371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6b21be93-ec03-437f-b591-a2f2f17e74a1"/>
    <ds:schemaRef ds:uri="http://purl.org/dc/terms/"/>
    <ds:schemaRef ds:uri="03800d5b-ab59-4b57-9448-9421640726bf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4CA1D81-D8F4-410C-931C-8388753CA8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21be93-ec03-437f-b591-a2f2f17e74a1"/>
    <ds:schemaRef ds:uri="03800d5b-ab59-4b57-9448-9421640726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2</TotalTime>
  <Words>1625</Words>
  <Application>Microsoft Office PowerPoint</Application>
  <PresentationFormat>Panorámica</PresentationFormat>
  <Paragraphs>165</Paragraphs>
  <Slides>12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21</vt:i4>
      </vt:variant>
      <vt:variant>
        <vt:lpstr>Tema</vt:lpstr>
      </vt:variant>
      <vt:variant>
        <vt:i4>7</vt:i4>
      </vt:variant>
      <vt:variant>
        <vt:lpstr>Títulos de diapositiva</vt:lpstr>
      </vt:variant>
      <vt:variant>
        <vt:i4>12</vt:i4>
      </vt:variant>
    </vt:vector>
  </HeadingPairs>
  <TitlesOfParts>
    <vt:vector size="40" baseType="lpstr">
      <vt:lpstr>ＭＳ Ｐゴシック</vt:lpstr>
      <vt:lpstr>ＭＳ Ｐゴシック</vt:lpstr>
      <vt:lpstr>Arial</vt:lpstr>
      <vt:lpstr>Arial Normal</vt:lpstr>
      <vt:lpstr>Arial Regular</vt:lpstr>
      <vt:lpstr>Calibri</vt:lpstr>
      <vt:lpstr>Calibri Light</vt:lpstr>
      <vt:lpstr>Courier New</vt:lpstr>
      <vt:lpstr>Eurostile</vt:lpstr>
      <vt:lpstr>Gill Sans</vt:lpstr>
      <vt:lpstr>Gill Sans MT</vt:lpstr>
      <vt:lpstr>Helvetica 55 Roman</vt:lpstr>
      <vt:lpstr>Helvetica 75</vt:lpstr>
      <vt:lpstr>Helvetica 75 Bold</vt:lpstr>
      <vt:lpstr>Telefonica</vt:lpstr>
      <vt:lpstr>Telefonica ExtraLight</vt:lpstr>
      <vt:lpstr>Vodafone Rg</vt:lpstr>
      <vt:lpstr>VodafoneRg-Bold</vt:lpstr>
      <vt:lpstr>VodafoneRg-Regular</vt:lpstr>
      <vt:lpstr>Wingdings</vt:lpstr>
      <vt:lpstr>ヒラギノ角ゴ ProN W3</vt:lpstr>
      <vt:lpstr>PORTADAS</vt:lpstr>
      <vt:lpstr>2_CONTENIDO</vt:lpstr>
      <vt:lpstr>4_BIENVENIDOS</vt:lpstr>
      <vt:lpstr>4_BIENVENIDOS_</vt:lpstr>
      <vt:lpstr>Cierre</vt:lpstr>
      <vt:lpstr>OFR_template_external</vt:lpstr>
      <vt:lpstr>Tema de Office</vt:lpstr>
      <vt:lpstr>Encuentro INSST – Grupo PRL digitalɘ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cuerdo TELCO Formación: nuevos cursos incorporados</vt:lpstr>
      <vt:lpstr>Presentación de PowerPoint</vt:lpstr>
      <vt:lpstr>Presentación de PowerPoint</vt:lpstr>
      <vt:lpstr>Presentación de PowerPoint</vt:lpstr>
      <vt:lpstr>Presentación de PowerPoint</vt:lpstr>
      <vt:lpstr>Gracia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LUISA DE LAS PEÑAS PERANDRES</dc:creator>
  <cp:lastModifiedBy>CHARFOLE MARTIN, JUAN FRANCISCO</cp:lastModifiedBy>
  <cp:revision>39</cp:revision>
  <dcterms:modified xsi:type="dcterms:W3CDTF">2021-04-19T14:4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D2DB4C26FFED4590AFD9C42D0EFD40</vt:lpwstr>
  </property>
</Properties>
</file>